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0" r:id="rId4"/>
    <p:sldMasterId id="2147483743" r:id="rId5"/>
  </p:sldMasterIdLst>
  <p:notesMasterIdLst>
    <p:notesMasterId r:id="rId7"/>
  </p:notesMasterIdLst>
  <p:handoutMasterIdLst>
    <p:handoutMasterId r:id="rId8"/>
  </p:handoutMasterIdLst>
  <p:sldIdLst>
    <p:sldId id="1279" r:id="rId6"/>
  </p:sldIdLst>
  <p:sldSz cx="10693400" cy="7561263"/>
  <p:notesSz cx="7019925" cy="9305925"/>
  <p:custDataLst>
    <p:tags r:id="rId9"/>
  </p:custDataLst>
  <p:defaultTextStyle>
    <a:defPPr>
      <a:defRPr lang="en-US"/>
    </a:defPPr>
    <a:lvl1pPr marL="0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44" userDrawn="1">
          <p15:clr>
            <a:srgbClr val="5ACBF0"/>
          </p15:clr>
        </p15:guide>
        <p15:guide id="2" orient="horz" pos="3810" userDrawn="1">
          <p15:clr>
            <a:srgbClr val="5ACBF0"/>
          </p15:clr>
        </p15:guide>
        <p15:guide id="3" orient="horz" pos="1588" userDrawn="1">
          <p15:clr>
            <a:srgbClr val="5ACBF0"/>
          </p15:clr>
        </p15:guide>
        <p15:guide id="4" pos="3391" userDrawn="1">
          <p15:clr>
            <a:srgbClr val="A4A3A4"/>
          </p15:clr>
        </p15:guide>
        <p15:guide id="6" pos="4978" userDrawn="1">
          <p15:clr>
            <a:srgbClr val="FDE53C"/>
          </p15:clr>
        </p15:guide>
        <p15:guide id="7" orient="horz" pos="2132" userDrawn="1">
          <p15:clr>
            <a:srgbClr val="5ACBF0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5" userDrawn="1">
          <p15:clr>
            <a:srgbClr val="A4A3A4"/>
          </p15:clr>
        </p15:guide>
        <p15:guide id="2" pos="2280" userDrawn="1">
          <p15:clr>
            <a:srgbClr val="A4A3A4"/>
          </p15:clr>
        </p15:guide>
        <p15:guide id="3" orient="horz" pos="2931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6E1180-385D-4977-BC37-2AB6C1AC79B3}" v="14" dt="2026-05-13T10:40:00.3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2984" y="60"/>
      </p:cViewPr>
      <p:guideLst>
        <p:guide orient="horz" pos="1344"/>
        <p:guide orient="horz" pos="3810"/>
        <p:guide orient="horz" pos="1588"/>
        <p:guide pos="3391"/>
        <p:guide pos="4978"/>
        <p:guide orient="horz" pos="213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745"/>
        <p:guide pos="2280"/>
        <p:guide orient="horz" pos="2931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jibali, Ibrahim" userId="3ee40811-bb77-4151-b2d8-95dfddb48184" providerId="ADAL" clId="{FBA432F4-B217-4A32-9854-33BEF3866B72}"/>
    <pc:docChg chg="undo redo custSel modSld">
      <pc:chgData name="Aljibali, Ibrahim" userId="3ee40811-bb77-4151-b2d8-95dfddb48184" providerId="ADAL" clId="{FBA432F4-B217-4A32-9854-33BEF3866B72}" dt="2026-05-13T10:45:25.215" v="844" actId="1076"/>
      <pc:docMkLst>
        <pc:docMk/>
      </pc:docMkLst>
      <pc:sldChg chg="addSp delSp modSp mod">
        <pc:chgData name="Aljibali, Ibrahim" userId="3ee40811-bb77-4151-b2d8-95dfddb48184" providerId="ADAL" clId="{FBA432F4-B217-4A32-9854-33BEF3866B72}" dt="2026-05-13T10:45:25.215" v="844" actId="1076"/>
        <pc:sldMkLst>
          <pc:docMk/>
          <pc:sldMk cId="780214711" sldId="1279"/>
        </pc:sldMkLst>
        <pc:spChg chg="mod">
          <ac:chgData name="Aljibali, Ibrahim" userId="3ee40811-bb77-4151-b2d8-95dfddb48184" providerId="ADAL" clId="{FBA432F4-B217-4A32-9854-33BEF3866B72}" dt="2026-05-13T10:01:59.622" v="163" actId="122"/>
          <ac:spMkLst>
            <pc:docMk/>
            <pc:sldMk cId="780214711" sldId="1279"/>
            <ac:spMk id="2" creationId="{9C0CF16A-0079-A268-1AD0-20F4637A1B06}"/>
          </ac:spMkLst>
        </pc:spChg>
        <pc:spChg chg="del">
          <ac:chgData name="Aljibali, Ibrahim" userId="3ee40811-bb77-4151-b2d8-95dfddb48184" providerId="ADAL" clId="{FBA432F4-B217-4A32-9854-33BEF3866B72}" dt="2026-05-13T10:04:37.188" v="213" actId="478"/>
          <ac:spMkLst>
            <pc:docMk/>
            <pc:sldMk cId="780214711" sldId="1279"/>
            <ac:spMk id="5" creationId="{52F0453E-2BA0-47F7-C4D2-1BBD1457A9FC}"/>
          </ac:spMkLst>
        </pc:spChg>
        <pc:spChg chg="del mod">
          <ac:chgData name="Aljibali, Ibrahim" userId="3ee40811-bb77-4151-b2d8-95dfddb48184" providerId="ADAL" clId="{FBA432F4-B217-4A32-9854-33BEF3866B72}" dt="2026-05-13T10:05:23.376" v="256" actId="478"/>
          <ac:spMkLst>
            <pc:docMk/>
            <pc:sldMk cId="780214711" sldId="1279"/>
            <ac:spMk id="7" creationId="{5975B003-582C-A2D5-0AE5-74A4AC473B8B}"/>
          </ac:spMkLst>
        </pc:spChg>
        <pc:spChg chg="del">
          <ac:chgData name="Aljibali, Ibrahim" userId="3ee40811-bb77-4151-b2d8-95dfddb48184" providerId="ADAL" clId="{FBA432F4-B217-4A32-9854-33BEF3866B72}" dt="2026-05-13T10:05:15.631" v="254" actId="478"/>
          <ac:spMkLst>
            <pc:docMk/>
            <pc:sldMk cId="780214711" sldId="1279"/>
            <ac:spMk id="9" creationId="{76BD931C-196F-EB94-74DB-024D4FEE6F94}"/>
          </ac:spMkLst>
        </pc:spChg>
        <pc:spChg chg="mod">
          <ac:chgData name="Aljibali, Ibrahim" userId="3ee40811-bb77-4151-b2d8-95dfddb48184" providerId="ADAL" clId="{FBA432F4-B217-4A32-9854-33BEF3866B72}" dt="2026-05-13T10:33:12.133" v="769" actId="6549"/>
          <ac:spMkLst>
            <pc:docMk/>
            <pc:sldMk cId="780214711" sldId="1279"/>
            <ac:spMk id="11" creationId="{D922BEEB-67A9-F797-B21E-69F3A1096126}"/>
          </ac:spMkLst>
        </pc:spChg>
        <pc:spChg chg="mod">
          <ac:chgData name="Aljibali, Ibrahim" userId="3ee40811-bb77-4151-b2d8-95dfddb48184" providerId="ADAL" clId="{FBA432F4-B217-4A32-9854-33BEF3866B72}" dt="2026-05-13T10:01:38.489" v="160" actId="6549"/>
          <ac:spMkLst>
            <pc:docMk/>
            <pc:sldMk cId="780214711" sldId="1279"/>
            <ac:spMk id="12" creationId="{DFEDF469-9412-8F30-C8E0-A34D99B51464}"/>
          </ac:spMkLst>
        </pc:spChg>
        <pc:spChg chg="del mod">
          <ac:chgData name="Aljibali, Ibrahim" userId="3ee40811-bb77-4151-b2d8-95dfddb48184" providerId="ADAL" clId="{FBA432F4-B217-4A32-9854-33BEF3866B72}" dt="2026-05-13T10:07:07.757" v="354" actId="478"/>
          <ac:spMkLst>
            <pc:docMk/>
            <pc:sldMk cId="780214711" sldId="1279"/>
            <ac:spMk id="13" creationId="{4E10C7C7-2651-0049-B3FF-98BB073A18AD}"/>
          </ac:spMkLst>
        </pc:spChg>
        <pc:spChg chg="del mod">
          <ac:chgData name="Aljibali, Ibrahim" userId="3ee40811-bb77-4151-b2d8-95dfddb48184" providerId="ADAL" clId="{FBA432F4-B217-4A32-9854-33BEF3866B72}" dt="2026-05-13T10:06:02.083" v="261" actId="478"/>
          <ac:spMkLst>
            <pc:docMk/>
            <pc:sldMk cId="780214711" sldId="1279"/>
            <ac:spMk id="14" creationId="{5ED53611-F1B4-E39B-ACC6-E70ECF6F3E8B}"/>
          </ac:spMkLst>
        </pc:spChg>
        <pc:spChg chg="del mod">
          <ac:chgData name="Aljibali, Ibrahim" userId="3ee40811-bb77-4151-b2d8-95dfddb48184" providerId="ADAL" clId="{FBA432F4-B217-4A32-9854-33BEF3866B72}" dt="2026-05-13T10:03:39.613" v="180" actId="478"/>
          <ac:spMkLst>
            <pc:docMk/>
            <pc:sldMk cId="780214711" sldId="1279"/>
            <ac:spMk id="15" creationId="{63ADE8C7-612F-E23A-AE51-9425CAFBFD31}"/>
          </ac:spMkLst>
        </pc:spChg>
        <pc:spChg chg="mod">
          <ac:chgData name="Aljibali, Ibrahim" userId="3ee40811-bb77-4151-b2d8-95dfddb48184" providerId="ADAL" clId="{FBA432F4-B217-4A32-9854-33BEF3866B72}" dt="2026-05-13T10:40:40.274" v="800" actId="404"/>
          <ac:spMkLst>
            <pc:docMk/>
            <pc:sldMk cId="780214711" sldId="1279"/>
            <ac:spMk id="17" creationId="{8C0148D1-943E-1025-9B0B-92563E2A023A}"/>
          </ac:spMkLst>
        </pc:spChg>
        <pc:spChg chg="del mod">
          <ac:chgData name="Aljibali, Ibrahim" userId="3ee40811-bb77-4151-b2d8-95dfddb48184" providerId="ADAL" clId="{FBA432F4-B217-4A32-9854-33BEF3866B72}" dt="2026-05-13T10:05:47.063" v="258" actId="478"/>
          <ac:spMkLst>
            <pc:docMk/>
            <pc:sldMk cId="780214711" sldId="1279"/>
            <ac:spMk id="18" creationId="{ADBFF369-2D2E-F47A-F4FA-34114B85A3D6}"/>
          </ac:spMkLst>
        </pc:spChg>
        <pc:spChg chg="mod">
          <ac:chgData name="Aljibali, Ibrahim" userId="3ee40811-bb77-4151-b2d8-95dfddb48184" providerId="ADAL" clId="{FBA432F4-B217-4A32-9854-33BEF3866B72}" dt="2026-05-13T10:45:25.215" v="844" actId="1076"/>
          <ac:spMkLst>
            <pc:docMk/>
            <pc:sldMk cId="780214711" sldId="1279"/>
            <ac:spMk id="19" creationId="{D04D7FD9-AF8F-9F1A-414E-8CB999732899}"/>
          </ac:spMkLst>
        </pc:spChg>
        <pc:spChg chg="add mod">
          <ac:chgData name="Aljibali, Ibrahim" userId="3ee40811-bb77-4151-b2d8-95dfddb48184" providerId="ADAL" clId="{FBA432F4-B217-4A32-9854-33BEF3866B72}" dt="2026-05-13T10:45:10.526" v="843" actId="1035"/>
          <ac:spMkLst>
            <pc:docMk/>
            <pc:sldMk cId="780214711" sldId="1279"/>
            <ac:spMk id="24" creationId="{70415DC1-BFF8-1115-BE89-AACE46DE15C5}"/>
          </ac:spMkLst>
        </pc:spChg>
        <pc:spChg chg="add mod">
          <ac:chgData name="Aljibali, Ibrahim" userId="3ee40811-bb77-4151-b2d8-95dfddb48184" providerId="ADAL" clId="{FBA432F4-B217-4A32-9854-33BEF3866B72}" dt="2026-05-13T10:42:43.048" v="818" actId="14100"/>
          <ac:spMkLst>
            <pc:docMk/>
            <pc:sldMk cId="780214711" sldId="1279"/>
            <ac:spMk id="29" creationId="{B66943CF-1F64-9936-59A9-D4835EC16F8C}"/>
          </ac:spMkLst>
        </pc:spChg>
        <pc:spChg chg="mod">
          <ac:chgData name="Aljibali, Ibrahim" userId="3ee40811-bb77-4151-b2d8-95dfddb48184" providerId="ADAL" clId="{FBA432F4-B217-4A32-9854-33BEF3866B72}" dt="2026-05-13T10:09:42.133" v="388" actId="1076"/>
          <ac:spMkLst>
            <pc:docMk/>
            <pc:sldMk cId="780214711" sldId="1279"/>
            <ac:spMk id="56" creationId="{39995078-21FD-E5D2-45CD-08742736EA9C}"/>
          </ac:spMkLst>
        </pc:spChg>
        <pc:cxnChg chg="mod">
          <ac:chgData name="Aljibali, Ibrahim" userId="3ee40811-bb77-4151-b2d8-95dfddb48184" providerId="ADAL" clId="{FBA432F4-B217-4A32-9854-33BEF3866B72}" dt="2026-05-13T10:40:24.891" v="798" actId="14100"/>
          <ac:cxnSpMkLst>
            <pc:docMk/>
            <pc:sldMk cId="780214711" sldId="1279"/>
            <ac:cxnSpMk id="25" creationId="{0FA1B681-4CAE-40A6-1461-7B35C074FC36}"/>
          </ac:cxnSpMkLst>
        </pc:cxnChg>
        <pc:cxnChg chg="mod">
          <ac:chgData name="Aljibali, Ibrahim" userId="3ee40811-bb77-4151-b2d8-95dfddb48184" providerId="ADAL" clId="{FBA432F4-B217-4A32-9854-33BEF3866B72}" dt="2026-05-13T10:43:26.753" v="823" actId="1037"/>
          <ac:cxnSpMkLst>
            <pc:docMk/>
            <pc:sldMk cId="780214711" sldId="1279"/>
            <ac:cxnSpMk id="28" creationId="{6A3BD602-5CB8-206C-C455-B3287F94C9A7}"/>
          </ac:cxnSpMkLst>
        </pc:cxnChg>
        <pc:cxnChg chg="add del mod">
          <ac:chgData name="Aljibali, Ibrahim" userId="3ee40811-bb77-4151-b2d8-95dfddb48184" providerId="ADAL" clId="{FBA432F4-B217-4A32-9854-33BEF3866B72}" dt="2026-05-13T10:17:44.452" v="548" actId="478"/>
          <ac:cxnSpMkLst>
            <pc:docMk/>
            <pc:sldMk cId="780214711" sldId="1279"/>
            <ac:cxnSpMk id="31" creationId="{0C0DEFBB-4F1B-508A-009D-03C780B78766}"/>
          </ac:cxnSpMkLst>
        </pc:cxnChg>
        <pc:cxnChg chg="del mod">
          <ac:chgData name="Aljibali, Ibrahim" userId="3ee40811-bb77-4151-b2d8-95dfddb48184" providerId="ADAL" clId="{FBA432F4-B217-4A32-9854-33BEF3866B72}" dt="2026-05-13T10:05:50.170" v="259" actId="478"/>
          <ac:cxnSpMkLst>
            <pc:docMk/>
            <pc:sldMk cId="780214711" sldId="1279"/>
            <ac:cxnSpMk id="34" creationId="{DE8D221C-ED83-F769-4305-CB24C4D5F7E3}"/>
          </ac:cxnSpMkLst>
        </pc:cxnChg>
        <pc:cxnChg chg="mod">
          <ac:chgData name="Aljibali, Ibrahim" userId="3ee40811-bb77-4151-b2d8-95dfddb48184" providerId="ADAL" clId="{FBA432F4-B217-4A32-9854-33BEF3866B72}" dt="2026-05-13T10:09:13.677" v="382" actId="14100"/>
          <ac:cxnSpMkLst>
            <pc:docMk/>
            <pc:sldMk cId="780214711" sldId="1279"/>
            <ac:cxnSpMk id="37" creationId="{BBA83020-2BA6-0ADD-13F4-DE5FE45F59C6}"/>
          </ac:cxnSpMkLst>
        </pc:cxnChg>
        <pc:cxnChg chg="mod">
          <ac:chgData name="Aljibali, Ibrahim" userId="3ee40811-bb77-4151-b2d8-95dfddb48184" providerId="ADAL" clId="{FBA432F4-B217-4A32-9854-33BEF3866B72}" dt="2026-05-13T10:09:45.156" v="389" actId="1076"/>
          <ac:cxnSpMkLst>
            <pc:docMk/>
            <pc:sldMk cId="780214711" sldId="1279"/>
            <ac:cxnSpMk id="47" creationId="{EDB1B7FD-6343-2A93-CC30-59EDA4DD1BF8}"/>
          </ac:cxnSpMkLst>
        </pc:cxnChg>
        <pc:cxnChg chg="add del mod">
          <ac:chgData name="Aljibali, Ibrahim" userId="3ee40811-bb77-4151-b2d8-95dfddb48184" providerId="ADAL" clId="{FBA432F4-B217-4A32-9854-33BEF3866B72}" dt="2026-05-13T10:27:02.946" v="665" actId="21"/>
          <ac:cxnSpMkLst>
            <pc:docMk/>
            <pc:sldMk cId="780214711" sldId="1279"/>
            <ac:cxnSpMk id="48" creationId="{B8E28806-3616-E66E-A313-41A430F7B979}"/>
          </ac:cxnSpMkLst>
        </pc:cxnChg>
        <pc:cxnChg chg="add del mod">
          <ac:chgData name="Aljibali, Ibrahim" userId="3ee40811-bb77-4151-b2d8-95dfddb48184" providerId="ADAL" clId="{FBA432F4-B217-4A32-9854-33BEF3866B72}" dt="2026-05-13T10:27:09.327" v="666" actId="21"/>
          <ac:cxnSpMkLst>
            <pc:docMk/>
            <pc:sldMk cId="780214711" sldId="1279"/>
            <ac:cxnSpMk id="58" creationId="{FA2EFE9A-1CAE-DFCD-B07C-9F9AB4FCE2BC}"/>
          </ac:cxnSpMkLst>
        </pc:cxnChg>
        <pc:cxnChg chg="mod">
          <ac:chgData name="Aljibali, Ibrahim" userId="3ee40811-bb77-4151-b2d8-95dfddb48184" providerId="ADAL" clId="{FBA432F4-B217-4A32-9854-33BEF3866B72}" dt="2026-05-13T10:44:19.547" v="841" actId="1037"/>
          <ac:cxnSpMkLst>
            <pc:docMk/>
            <pc:sldMk cId="780214711" sldId="1279"/>
            <ac:cxnSpMk id="59" creationId="{EE48818E-792C-A22E-C9C2-A7784A276C62}"/>
          </ac:cxnSpMkLst>
        </pc:cxnChg>
        <pc:cxnChg chg="mod">
          <ac:chgData name="Aljibali, Ibrahim" userId="3ee40811-bb77-4151-b2d8-95dfddb48184" providerId="ADAL" clId="{FBA432F4-B217-4A32-9854-33BEF3866B72}" dt="2026-05-13T10:44:06.285" v="837" actId="14100"/>
          <ac:cxnSpMkLst>
            <pc:docMk/>
            <pc:sldMk cId="780214711" sldId="1279"/>
            <ac:cxnSpMk id="64" creationId="{EBE79147-5316-31E9-4819-04B2A0F1BB63}"/>
          </ac:cxnSpMkLst>
        </pc:cxnChg>
        <pc:cxnChg chg="add mod">
          <ac:chgData name="Aljibali, Ibrahim" userId="3ee40811-bb77-4151-b2d8-95dfddb48184" providerId="ADAL" clId="{FBA432F4-B217-4A32-9854-33BEF3866B72}" dt="2026-05-13T10:16:42.095" v="527" actId="1076"/>
          <ac:cxnSpMkLst>
            <pc:docMk/>
            <pc:sldMk cId="780214711" sldId="1279"/>
            <ac:cxnSpMk id="89" creationId="{F2E04E61-5AD5-2095-D035-BE5E4D9D1573}"/>
          </ac:cxnSpMkLst>
        </pc:cxnChg>
        <pc:cxnChg chg="add del mod">
          <ac:chgData name="Aljibali, Ibrahim" userId="3ee40811-bb77-4151-b2d8-95dfddb48184" providerId="ADAL" clId="{FBA432F4-B217-4A32-9854-33BEF3866B72}" dt="2026-05-13T10:18:37.862" v="554" actId="11529"/>
          <ac:cxnSpMkLst>
            <pc:docMk/>
            <pc:sldMk cId="780214711" sldId="1279"/>
            <ac:cxnSpMk id="97" creationId="{4310BEAF-3DA1-A518-5B24-327B009718B2}"/>
          </ac:cxnSpMkLst>
        </pc:cxnChg>
        <pc:cxnChg chg="add mod">
          <ac:chgData name="Aljibali, Ibrahim" userId="3ee40811-bb77-4151-b2d8-95dfddb48184" providerId="ADAL" clId="{FBA432F4-B217-4A32-9854-33BEF3866B72}" dt="2026-05-13T10:44:37.358" v="842" actId="14100"/>
          <ac:cxnSpMkLst>
            <pc:docMk/>
            <pc:sldMk cId="780214711" sldId="1279"/>
            <ac:cxnSpMk id="101" creationId="{E3C2F431-1065-E22D-58CF-80D900630FD9}"/>
          </ac:cxnSpMkLst>
        </pc:cxnChg>
        <pc:cxnChg chg="add del mod">
          <ac:chgData name="Aljibali, Ibrahim" userId="3ee40811-bb77-4151-b2d8-95dfddb48184" providerId="ADAL" clId="{FBA432F4-B217-4A32-9854-33BEF3866B72}" dt="2026-05-13T10:28:15.036" v="673" actId="478"/>
          <ac:cxnSpMkLst>
            <pc:docMk/>
            <pc:sldMk cId="780214711" sldId="1279"/>
            <ac:cxnSpMk id="134" creationId="{19ABC05C-52E0-682E-580D-F64E2504D91A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3041755" cy="464660"/>
          </a:xfrm>
          <a:prstGeom prst="rect">
            <a:avLst/>
          </a:prstGeom>
        </p:spPr>
        <p:txBody>
          <a:bodyPr vert="horz" lIns="91550" tIns="45776" rIns="91550" bIns="4577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6579" y="0"/>
            <a:ext cx="3041755" cy="464660"/>
          </a:xfrm>
          <a:prstGeom prst="rect">
            <a:avLst/>
          </a:prstGeom>
        </p:spPr>
        <p:txBody>
          <a:bodyPr vert="horz" lIns="91550" tIns="45776" rIns="91550" bIns="45776" rtlCol="0"/>
          <a:lstStyle>
            <a:lvl1pPr algn="r">
              <a:defRPr sz="1200"/>
            </a:lvl1pPr>
          </a:lstStyle>
          <a:p>
            <a:fld id="{799064DF-AEA8-452A-9AEB-79760D3744FB}" type="datetimeFigureOut">
              <a:rPr lang="en-US" smtClean="0"/>
              <a:t>5/13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39677"/>
            <a:ext cx="3041755" cy="464660"/>
          </a:xfrm>
          <a:prstGeom prst="rect">
            <a:avLst/>
          </a:prstGeom>
        </p:spPr>
        <p:txBody>
          <a:bodyPr vert="horz" lIns="91550" tIns="45776" rIns="91550" bIns="4577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6579" y="8839677"/>
            <a:ext cx="3041755" cy="464660"/>
          </a:xfrm>
          <a:prstGeom prst="rect">
            <a:avLst/>
          </a:prstGeom>
        </p:spPr>
        <p:txBody>
          <a:bodyPr vert="horz" lIns="91550" tIns="45776" rIns="91550" bIns="45776" rtlCol="0" anchor="b"/>
          <a:lstStyle>
            <a:lvl1pPr algn="r">
              <a:defRPr sz="1200"/>
            </a:lvl1pPr>
          </a:lstStyle>
          <a:p>
            <a:fld id="{EC5C5FDE-2F58-4D40-8176-132AEFC34F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9187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1968" cy="465296"/>
          </a:xfrm>
          <a:prstGeom prst="rect">
            <a:avLst/>
          </a:prstGeom>
        </p:spPr>
        <p:txBody>
          <a:bodyPr vert="horz" lIns="91550" tIns="45776" rIns="91550" bIns="4577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334" y="2"/>
            <a:ext cx="3041968" cy="465296"/>
          </a:xfrm>
          <a:prstGeom prst="rect">
            <a:avLst/>
          </a:prstGeom>
        </p:spPr>
        <p:txBody>
          <a:bodyPr vert="horz" lIns="91550" tIns="45776" rIns="91550" bIns="45776" rtlCol="0"/>
          <a:lstStyle>
            <a:lvl1pPr algn="r">
              <a:defRPr sz="1200"/>
            </a:lvl1pPr>
          </a:lstStyle>
          <a:p>
            <a:fld id="{8F0EA9FA-4BA9-4F6E-8993-4FE59C3ABDD1}" type="datetimeFigureOut">
              <a:rPr lang="en-US" smtClean="0"/>
              <a:pPr/>
              <a:t>5/13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2988" y="700088"/>
            <a:ext cx="4933950" cy="3489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0" tIns="45776" rIns="91550" bIns="4577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93" y="4420316"/>
            <a:ext cx="5615940" cy="4187666"/>
          </a:xfrm>
          <a:prstGeom prst="rect">
            <a:avLst/>
          </a:prstGeom>
        </p:spPr>
        <p:txBody>
          <a:bodyPr vert="horz" lIns="91550" tIns="45776" rIns="91550" bIns="4577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39015"/>
            <a:ext cx="3041968" cy="465296"/>
          </a:xfrm>
          <a:prstGeom prst="rect">
            <a:avLst/>
          </a:prstGeom>
        </p:spPr>
        <p:txBody>
          <a:bodyPr vert="horz" lIns="91550" tIns="45776" rIns="91550" bIns="4577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334" y="8839015"/>
            <a:ext cx="3041968" cy="465296"/>
          </a:xfrm>
          <a:prstGeom prst="rect">
            <a:avLst/>
          </a:prstGeom>
        </p:spPr>
        <p:txBody>
          <a:bodyPr vert="horz" lIns="91550" tIns="45776" rIns="91550" bIns="45776" rtlCol="0" anchor="b"/>
          <a:lstStyle>
            <a:lvl1pPr algn="r">
              <a:defRPr sz="1200"/>
            </a:lvl1pPr>
          </a:lstStyle>
          <a:p>
            <a:fld id="{330246F7-8D45-4A9B-B3DD-49E8299529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830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71E9586-0DDA-3FA5-9A36-1D9C9634B9D7}"/>
              </a:ext>
            </a:extLst>
          </p:cNvPr>
          <p:cNvCxnSpPr>
            <a:cxnSpLocks/>
          </p:cNvCxnSpPr>
          <p:nvPr userDrawn="1"/>
        </p:nvCxnSpPr>
        <p:spPr>
          <a:xfrm>
            <a:off x="5327650" y="-413"/>
            <a:ext cx="0" cy="756208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hp_CoverTitle"/>
          <p:cNvSpPr>
            <a:spLocks noGrp="1"/>
          </p:cNvSpPr>
          <p:nvPr>
            <p:ph type="ctrTitle" hasCustomPrompt="1"/>
          </p:nvPr>
        </p:nvSpPr>
        <p:spPr>
          <a:xfrm>
            <a:off x="5811615" y="4695825"/>
            <a:ext cx="4395083" cy="518278"/>
          </a:xfrm>
          <a:noFill/>
        </p:spPr>
        <p:txBody>
          <a:bodyPr vert="horz" wrap="square" lIns="0" tIns="91440" rIns="0" bIns="91435" rtlCol="0" anchor="t" anchorCtr="0">
            <a:spAutoFit/>
          </a:bodyPr>
          <a:lstStyle>
            <a:lvl1pPr>
              <a:defRPr lang="en-GB" sz="2400" noProof="0" dirty="0"/>
            </a:lvl1pPr>
          </a:lstStyle>
          <a:p>
            <a:pPr lvl="0" algn="ctr"/>
            <a:r>
              <a:rPr lang="en-US" noProof="0"/>
              <a:t>Client Name/Presentation Title</a:t>
            </a:r>
          </a:p>
        </p:txBody>
      </p:sp>
      <p:sp>
        <p:nvSpPr>
          <p:cNvPr id="3" name="shp_CoverSubject"/>
          <p:cNvSpPr>
            <a:spLocks noGrp="1"/>
          </p:cNvSpPr>
          <p:nvPr>
            <p:ph type="subTitle" idx="1" hasCustomPrompt="1"/>
          </p:nvPr>
        </p:nvSpPr>
        <p:spPr>
          <a:xfrm>
            <a:off x="5811616" y="4344965"/>
            <a:ext cx="4395084" cy="350860"/>
          </a:xfrm>
          <a:noFill/>
        </p:spPr>
        <p:txBody>
          <a:bodyPr vert="horz" wrap="square" lIns="0" tIns="91440" rIns="0" bIns="91435" rtlCol="0" anchor="ctr" anchorCtr="0">
            <a:noAutofit/>
          </a:bodyPr>
          <a:lstStyle>
            <a:lvl1pPr>
              <a:defRPr lang="en-GB" sz="1200" b="0" cap="all" spc="200" noProof="0">
                <a:solidFill>
                  <a:schemeClr val="tx1"/>
                </a:solidFill>
                <a:latin typeface="+mn-lt"/>
              </a:defRPr>
            </a:lvl1pPr>
          </a:lstStyle>
          <a:p>
            <a:pPr lvl="0" algn="ctr">
              <a:lnSpc>
                <a:spcPct val="90000"/>
              </a:lnSpc>
              <a:spcBef>
                <a:spcPts val="0"/>
              </a:spcBef>
            </a:pPr>
            <a:r>
              <a:rPr lang="en-US" noProof="0"/>
              <a:t>Presentation Subject</a:t>
            </a:r>
          </a:p>
        </p:txBody>
      </p:sp>
      <p:sp>
        <p:nvSpPr>
          <p:cNvPr id="14" name="Confidential Stamp">
            <a:extLst>
              <a:ext uri="{FF2B5EF4-FFF2-40B4-BE49-F238E27FC236}">
                <a16:creationId xmlns:a16="http://schemas.microsoft.com/office/drawing/2014/main" id="{BA7C3CEA-0B63-46FA-BA76-9B7766B927F0}"/>
              </a:ext>
            </a:extLst>
          </p:cNvPr>
          <p:cNvSpPr txBox="1">
            <a:spLocks/>
          </p:cNvSpPr>
          <p:nvPr userDrawn="1"/>
        </p:nvSpPr>
        <p:spPr>
          <a:xfrm>
            <a:off x="5811615" y="667170"/>
            <a:ext cx="2108422" cy="177912"/>
          </a:xfrm>
          <a:prstGeom prst="rect">
            <a:avLst/>
          </a:prstGeom>
        </p:spPr>
        <p:txBody>
          <a:bodyPr vert="horz" lIns="0" tIns="0" rIns="0" bIns="27432" rtlCol="0" anchor="b" anchorCtr="0">
            <a:noAutofit/>
          </a:bodyPr>
          <a:lstStyle>
            <a:defPPr>
              <a:defRPr lang="en-US"/>
            </a:defPPr>
            <a:lvl1pPr>
              <a:defRPr sz="900" b="0" i="0" cap="all" spc="200" baseline="0"/>
            </a:lvl1pPr>
            <a:lvl2pPr marL="228600" indent="-228600">
              <a:lnSpc>
                <a:spcPts val="1600"/>
              </a:lnSpc>
              <a:spcBef>
                <a:spcPts val="8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"/>
              <a:defRPr sz="1100" b="0">
                <a:cs typeface="Aptos" panose="020B0604020202020204" pitchFamily="34" charset="0"/>
              </a:defRPr>
            </a:lvl2pPr>
            <a:lvl3pPr marL="457200" indent="-228600">
              <a:lnSpc>
                <a:spcPts val="1600"/>
              </a:lnSpc>
              <a:spcBef>
                <a:spcPts val="800"/>
              </a:spcBef>
              <a:buClr>
                <a:schemeClr val="tx1"/>
              </a:buClr>
              <a:buSzPct val="80000"/>
              <a:buFont typeface="Symbol" panose="05050102010706020507" pitchFamily="18" charset="2"/>
              <a:buChar char=""/>
              <a:defRPr sz="1100"/>
            </a:lvl3pPr>
            <a:lvl4pPr marL="685800" indent="-228600">
              <a:lnSpc>
                <a:spcPts val="1600"/>
              </a:lnSpc>
              <a:spcBef>
                <a:spcPts val="8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·"/>
              <a:defRPr sz="1100"/>
            </a:lvl4pPr>
            <a:lvl5pPr marL="914400" indent="-228600">
              <a:lnSpc>
                <a:spcPts val="14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Symbol" panose="05050102010706020507" pitchFamily="18" charset="2"/>
              <a:buChar char=""/>
              <a:defRPr sz="1100"/>
            </a:lvl5pPr>
            <a:lvl6pPr marL="1143000" indent="-228600">
              <a:lnSpc>
                <a:spcPts val="1400"/>
              </a:lnSpc>
              <a:spcBef>
                <a:spcPts val="4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·"/>
              <a:defRPr sz="1100" baseline="0"/>
            </a:lvl6pPr>
            <a:lvl7pPr marL="0" indent="0">
              <a:spcBef>
                <a:spcPts val="1200"/>
              </a:spcBef>
              <a:buFontTx/>
              <a:buNone/>
              <a:defRPr sz="1100" baseline="0"/>
            </a:lvl7pPr>
            <a:lvl8pPr marL="0" indent="0">
              <a:spcBef>
                <a:spcPts val="1200"/>
              </a:spcBef>
              <a:buFont typeface="Aptos" pitchFamily="34" charset="0"/>
              <a:buNone/>
              <a:defRPr sz="1100"/>
            </a:lvl8pPr>
            <a:lvl9pPr marL="0" indent="0">
              <a:spcBef>
                <a:spcPts val="1200"/>
              </a:spcBef>
              <a:buFont typeface="Aptos" pitchFamily="34" charset="0"/>
              <a:buNone/>
              <a:defRPr sz="1100"/>
            </a:lvl9pPr>
          </a:lstStyle>
          <a:p>
            <a:pPr lvl="0"/>
            <a:r>
              <a:rPr lang="en-US" noProof="0"/>
              <a:t>Confidential</a:t>
            </a:r>
          </a:p>
        </p:txBody>
      </p:sp>
      <p:sp>
        <p:nvSpPr>
          <p:cNvPr id="23" name="shp_Date">
            <a:extLst>
              <a:ext uri="{FF2B5EF4-FFF2-40B4-BE49-F238E27FC236}">
                <a16:creationId xmlns:a16="http://schemas.microsoft.com/office/drawing/2014/main" id="{1CACA271-35DD-42E4-915C-91B5CC25DB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63499" y="667170"/>
            <a:ext cx="2743200" cy="177912"/>
          </a:xfrm>
        </p:spPr>
        <p:txBody>
          <a:bodyPr vert="horz" lIns="0" tIns="0" rIns="0" bIns="27432" rtlCol="0" anchor="b" anchorCtr="0">
            <a:noAutofit/>
          </a:bodyPr>
          <a:lstStyle>
            <a:lvl1pPr algn="r">
              <a:defRPr lang="en-GB" sz="900" cap="all" spc="200" noProof="0" dirty="0"/>
            </a:lvl1pPr>
          </a:lstStyle>
          <a:p>
            <a:pPr lvl="0" algn="r"/>
            <a:r>
              <a:rPr lang="en-US" noProof="0"/>
              <a:t>Dat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23F502D-86A8-AF05-4E1F-F039C3E8F2A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413"/>
            <a:ext cx="5346700" cy="7562088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>
                <a:solidFill>
                  <a:srgbClr val="23283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7" name="Picture 10">
            <a:extLst>
              <a:ext uri="{FF2B5EF4-FFF2-40B4-BE49-F238E27FC236}">
                <a16:creationId xmlns:a16="http://schemas.microsoft.com/office/drawing/2014/main" id="{625F4A8C-6594-BFF6-C504-BB41655D5655}"/>
              </a:ext>
            </a:extLst>
          </p:cNvPr>
          <p:cNvGrpSpPr/>
          <p:nvPr userDrawn="1"/>
        </p:nvGrpSpPr>
        <p:grpSpPr>
          <a:xfrm>
            <a:off x="5811615" y="3558144"/>
            <a:ext cx="1680734" cy="315286"/>
            <a:chOff x="5803900" y="3558144"/>
            <a:chExt cx="1680734" cy="315286"/>
          </a:xfrm>
          <a:solidFill>
            <a:schemeClr val="tx1"/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F4A4D08-F4DB-666E-54C3-3E665A213AF2}"/>
                </a:ext>
              </a:extLst>
            </p:cNvPr>
            <p:cNvSpPr/>
            <p:nvPr/>
          </p:nvSpPr>
          <p:spPr>
            <a:xfrm>
              <a:off x="6384334" y="3600230"/>
              <a:ext cx="221424" cy="273108"/>
            </a:xfrm>
            <a:custGeom>
              <a:avLst/>
              <a:gdLst>
                <a:gd name="connsiteX0" fmla="*/ 215400 w 221424"/>
                <a:gd name="connsiteY0" fmla="*/ 2422 h 273108"/>
                <a:gd name="connsiteX1" fmla="*/ 219003 w 221424"/>
                <a:gd name="connsiteY1" fmla="*/ 2422 h 273108"/>
                <a:gd name="connsiteX2" fmla="*/ 221425 w 221424"/>
                <a:gd name="connsiteY2" fmla="*/ 4845 h 273108"/>
                <a:gd name="connsiteX3" fmla="*/ 219608 w 221424"/>
                <a:gd name="connsiteY3" fmla="*/ 9053 h 273108"/>
                <a:gd name="connsiteX4" fmla="*/ 45750 w 221424"/>
                <a:gd name="connsiteY4" fmla="*/ 257485 h 273108"/>
                <a:gd name="connsiteX5" fmla="*/ 137796 w 221424"/>
                <a:gd name="connsiteY5" fmla="*/ 256880 h 273108"/>
                <a:gd name="connsiteX6" fmla="*/ 199746 w 221424"/>
                <a:gd name="connsiteY6" fmla="*/ 239440 h 273108"/>
                <a:gd name="connsiteX7" fmla="*/ 207558 w 221424"/>
                <a:gd name="connsiteY7" fmla="*/ 220183 h 273108"/>
                <a:gd name="connsiteX8" fmla="*/ 211161 w 221424"/>
                <a:gd name="connsiteY8" fmla="*/ 214157 h 273108"/>
                <a:gd name="connsiteX9" fmla="*/ 214764 w 221424"/>
                <a:gd name="connsiteY9" fmla="*/ 214157 h 273108"/>
                <a:gd name="connsiteX10" fmla="*/ 206346 w 221424"/>
                <a:gd name="connsiteY10" fmla="*/ 263480 h 273108"/>
                <a:gd name="connsiteX11" fmla="*/ 194326 w 221424"/>
                <a:gd name="connsiteY11" fmla="*/ 273109 h 273108"/>
                <a:gd name="connsiteX12" fmla="*/ 6025 w 221424"/>
                <a:gd name="connsiteY12" fmla="*/ 273109 h 273108"/>
                <a:gd name="connsiteX13" fmla="*/ 0 w 221424"/>
                <a:gd name="connsiteY13" fmla="*/ 268295 h 273108"/>
                <a:gd name="connsiteX14" fmla="*/ 5420 w 221424"/>
                <a:gd name="connsiteY14" fmla="*/ 258061 h 273108"/>
                <a:gd name="connsiteX15" fmla="*/ 141975 w 221424"/>
                <a:gd name="connsiteY15" fmla="*/ 78814 h 273108"/>
                <a:gd name="connsiteX16" fmla="*/ 182881 w 221424"/>
                <a:gd name="connsiteY16" fmla="*/ 21649 h 273108"/>
                <a:gd name="connsiteX17" fmla="*/ 186484 w 221424"/>
                <a:gd name="connsiteY17" fmla="*/ 16835 h 273108"/>
                <a:gd name="connsiteX18" fmla="*/ 89018 w 221424"/>
                <a:gd name="connsiteY18" fmla="*/ 17440 h 273108"/>
                <a:gd name="connsiteX19" fmla="*/ 60163 w 221424"/>
                <a:gd name="connsiteY19" fmla="*/ 19227 h 273108"/>
                <a:gd name="connsiteX20" fmla="*/ 42723 w 221424"/>
                <a:gd name="connsiteY20" fmla="*/ 24646 h 273108"/>
                <a:gd name="connsiteX21" fmla="*/ 20468 w 221424"/>
                <a:gd name="connsiteY21" fmla="*/ 52926 h 273108"/>
                <a:gd name="connsiteX22" fmla="*/ 16259 w 221424"/>
                <a:gd name="connsiteY22" fmla="*/ 59527 h 273108"/>
                <a:gd name="connsiteX23" fmla="*/ 13837 w 221424"/>
                <a:gd name="connsiteY23" fmla="*/ 54713 h 273108"/>
                <a:gd name="connsiteX24" fmla="*/ 21649 w 221424"/>
                <a:gd name="connsiteY24" fmla="*/ 7206 h 273108"/>
                <a:gd name="connsiteX25" fmla="*/ 25252 w 221424"/>
                <a:gd name="connsiteY25" fmla="*/ 0 h 273108"/>
                <a:gd name="connsiteX26" fmla="*/ 38484 w 221424"/>
                <a:gd name="connsiteY26" fmla="*/ 1817 h 273108"/>
                <a:gd name="connsiteX27" fmla="*/ 108850 w 221424"/>
                <a:gd name="connsiteY27" fmla="*/ 1817 h 273108"/>
                <a:gd name="connsiteX28" fmla="*/ 215339 w 221424"/>
                <a:gd name="connsiteY28" fmla="*/ 2422 h 273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21424" h="273108">
                  <a:moveTo>
                    <a:pt x="215400" y="2422"/>
                  </a:moveTo>
                  <a:lnTo>
                    <a:pt x="219003" y="2422"/>
                  </a:lnTo>
                  <a:cubicBezTo>
                    <a:pt x="220819" y="3028"/>
                    <a:pt x="221425" y="3633"/>
                    <a:pt x="221425" y="4845"/>
                  </a:cubicBezTo>
                  <a:cubicBezTo>
                    <a:pt x="221425" y="6661"/>
                    <a:pt x="221425" y="7267"/>
                    <a:pt x="219608" y="9053"/>
                  </a:cubicBezTo>
                  <a:cubicBezTo>
                    <a:pt x="162443" y="92076"/>
                    <a:pt x="105308" y="175068"/>
                    <a:pt x="45750" y="257485"/>
                  </a:cubicBezTo>
                  <a:lnTo>
                    <a:pt x="137796" y="256880"/>
                  </a:lnTo>
                  <a:cubicBezTo>
                    <a:pt x="178702" y="256880"/>
                    <a:pt x="191328" y="250249"/>
                    <a:pt x="199746" y="239440"/>
                  </a:cubicBezTo>
                  <a:cubicBezTo>
                    <a:pt x="203349" y="234625"/>
                    <a:pt x="206952" y="224997"/>
                    <a:pt x="207558" y="220183"/>
                  </a:cubicBezTo>
                  <a:cubicBezTo>
                    <a:pt x="208163" y="216580"/>
                    <a:pt x="211161" y="214157"/>
                    <a:pt x="211161" y="214157"/>
                  </a:cubicBezTo>
                  <a:lnTo>
                    <a:pt x="214764" y="214157"/>
                  </a:lnTo>
                  <a:cubicBezTo>
                    <a:pt x="214764" y="214157"/>
                    <a:pt x="208738" y="254458"/>
                    <a:pt x="206346" y="263480"/>
                  </a:cubicBezTo>
                  <a:cubicBezTo>
                    <a:pt x="203954" y="272503"/>
                    <a:pt x="203349" y="273109"/>
                    <a:pt x="194326" y="273109"/>
                  </a:cubicBezTo>
                  <a:lnTo>
                    <a:pt x="6025" y="273109"/>
                  </a:lnTo>
                  <a:cubicBezTo>
                    <a:pt x="1817" y="273109"/>
                    <a:pt x="0" y="270687"/>
                    <a:pt x="0" y="268295"/>
                  </a:cubicBezTo>
                  <a:cubicBezTo>
                    <a:pt x="0" y="266478"/>
                    <a:pt x="1211" y="264692"/>
                    <a:pt x="5420" y="258061"/>
                  </a:cubicBezTo>
                  <a:cubicBezTo>
                    <a:pt x="48718" y="198504"/>
                    <a:pt x="97435" y="138946"/>
                    <a:pt x="141975" y="78814"/>
                  </a:cubicBezTo>
                  <a:cubicBezTo>
                    <a:pt x="155812" y="60163"/>
                    <a:pt x="169649" y="40906"/>
                    <a:pt x="182881" y="21649"/>
                  </a:cubicBezTo>
                  <a:cubicBezTo>
                    <a:pt x="184092" y="19832"/>
                    <a:pt x="185303" y="18651"/>
                    <a:pt x="186484" y="16835"/>
                  </a:cubicBezTo>
                  <a:lnTo>
                    <a:pt x="89018" y="17440"/>
                  </a:lnTo>
                  <a:cubicBezTo>
                    <a:pt x="76998" y="17440"/>
                    <a:pt x="67975" y="18046"/>
                    <a:pt x="60163" y="19227"/>
                  </a:cubicBezTo>
                  <a:cubicBezTo>
                    <a:pt x="53532" y="20438"/>
                    <a:pt x="47537" y="22224"/>
                    <a:pt x="42723" y="24646"/>
                  </a:cubicBezTo>
                  <a:cubicBezTo>
                    <a:pt x="28885" y="31247"/>
                    <a:pt x="20468" y="52926"/>
                    <a:pt x="20468" y="52926"/>
                  </a:cubicBezTo>
                  <a:lnTo>
                    <a:pt x="16259" y="59527"/>
                  </a:lnTo>
                  <a:cubicBezTo>
                    <a:pt x="16259" y="59527"/>
                    <a:pt x="13837" y="57740"/>
                    <a:pt x="13837" y="54713"/>
                  </a:cubicBezTo>
                  <a:cubicBezTo>
                    <a:pt x="13837" y="50504"/>
                    <a:pt x="19257" y="18015"/>
                    <a:pt x="21649" y="7206"/>
                  </a:cubicBezTo>
                  <a:cubicBezTo>
                    <a:pt x="22255" y="1786"/>
                    <a:pt x="25252" y="0"/>
                    <a:pt x="25252" y="0"/>
                  </a:cubicBezTo>
                  <a:cubicBezTo>
                    <a:pt x="25252" y="0"/>
                    <a:pt x="27644" y="1817"/>
                    <a:pt x="38484" y="1817"/>
                  </a:cubicBezTo>
                  <a:lnTo>
                    <a:pt x="108850" y="1817"/>
                  </a:lnTo>
                  <a:lnTo>
                    <a:pt x="215339" y="2422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7FA9542-9531-7059-BBBE-03798C3B32CF}"/>
                </a:ext>
              </a:extLst>
            </p:cNvPr>
            <p:cNvSpPr/>
            <p:nvPr/>
          </p:nvSpPr>
          <p:spPr>
            <a:xfrm>
              <a:off x="6073982" y="3593158"/>
              <a:ext cx="285705" cy="280211"/>
            </a:xfrm>
            <a:custGeom>
              <a:avLst/>
              <a:gdLst>
                <a:gd name="connsiteX0" fmla="*/ 266509 w 285705"/>
                <a:gd name="connsiteY0" fmla="*/ 272975 h 280211"/>
                <a:gd name="connsiteX1" fmla="*/ 235837 w 285705"/>
                <a:gd name="connsiteY1" fmla="*/ 234461 h 280211"/>
                <a:gd name="connsiteX2" fmla="*/ 138977 w 285705"/>
                <a:gd name="connsiteY2" fmla="*/ 1077 h 280211"/>
                <a:gd name="connsiteX3" fmla="*/ 136555 w 285705"/>
                <a:gd name="connsiteY3" fmla="*/ 2288 h 280211"/>
                <a:gd name="connsiteX4" fmla="*/ 45720 w 285705"/>
                <a:gd name="connsiteY4" fmla="*/ 239306 h 280211"/>
                <a:gd name="connsiteX5" fmla="*/ 14443 w 285705"/>
                <a:gd name="connsiteY5" fmla="*/ 274186 h 280211"/>
                <a:gd name="connsiteX6" fmla="*/ 0 w 285705"/>
                <a:gd name="connsiteY6" fmla="*/ 275397 h 280211"/>
                <a:gd name="connsiteX7" fmla="*/ 0 w 285705"/>
                <a:gd name="connsiteY7" fmla="*/ 277214 h 280211"/>
                <a:gd name="connsiteX8" fmla="*/ 7206 w 285705"/>
                <a:gd name="connsiteY8" fmla="*/ 280212 h 280211"/>
                <a:gd name="connsiteX9" fmla="*/ 78784 w 285705"/>
                <a:gd name="connsiteY9" fmla="*/ 280212 h 280211"/>
                <a:gd name="connsiteX10" fmla="*/ 84204 w 285705"/>
                <a:gd name="connsiteY10" fmla="*/ 277214 h 280211"/>
                <a:gd name="connsiteX11" fmla="*/ 84204 w 285705"/>
                <a:gd name="connsiteY11" fmla="*/ 276003 h 280211"/>
                <a:gd name="connsiteX12" fmla="*/ 76998 w 285705"/>
                <a:gd name="connsiteY12" fmla="*/ 275397 h 280211"/>
                <a:gd name="connsiteX13" fmla="*/ 62555 w 285705"/>
                <a:gd name="connsiteY13" fmla="*/ 264558 h 280211"/>
                <a:gd name="connsiteX14" fmla="*/ 67975 w 285705"/>
                <a:gd name="connsiteY14" fmla="*/ 239306 h 280211"/>
                <a:gd name="connsiteX15" fmla="*/ 92046 w 285705"/>
                <a:gd name="connsiteY15" fmla="*/ 169515 h 280211"/>
                <a:gd name="connsiteX16" fmla="*/ 176855 w 285705"/>
                <a:gd name="connsiteY16" fmla="*/ 170120 h 280211"/>
                <a:gd name="connsiteX17" fmla="*/ 212947 w 285705"/>
                <a:gd name="connsiteY17" fmla="*/ 264558 h 280211"/>
                <a:gd name="connsiteX18" fmla="*/ 210525 w 285705"/>
                <a:gd name="connsiteY18" fmla="*/ 274186 h 280211"/>
                <a:gd name="connsiteX19" fmla="*/ 208102 w 285705"/>
                <a:gd name="connsiteY19" fmla="*/ 277184 h 280211"/>
                <a:gd name="connsiteX20" fmla="*/ 218942 w 285705"/>
                <a:gd name="connsiteY20" fmla="*/ 280181 h 280211"/>
                <a:gd name="connsiteX21" fmla="*/ 277894 w 285705"/>
                <a:gd name="connsiteY21" fmla="*/ 280181 h 280211"/>
                <a:gd name="connsiteX22" fmla="*/ 285706 w 285705"/>
                <a:gd name="connsiteY22" fmla="*/ 277184 h 280211"/>
                <a:gd name="connsiteX23" fmla="*/ 285100 w 285705"/>
                <a:gd name="connsiteY23" fmla="*/ 275367 h 280211"/>
                <a:gd name="connsiteX24" fmla="*/ 266449 w 285705"/>
                <a:gd name="connsiteY24" fmla="*/ 272945 h 280211"/>
                <a:gd name="connsiteX25" fmla="*/ 95619 w 285705"/>
                <a:gd name="connsiteY25" fmla="*/ 156253 h 280211"/>
                <a:gd name="connsiteX26" fmla="*/ 133527 w 285705"/>
                <a:gd name="connsiteY26" fmla="*/ 47373 h 280211"/>
                <a:gd name="connsiteX27" fmla="*/ 172011 w 285705"/>
                <a:gd name="connsiteY27" fmla="*/ 156253 h 280211"/>
                <a:gd name="connsiteX28" fmla="*/ 95619 w 285705"/>
                <a:gd name="connsiteY28" fmla="*/ 156253 h 28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5705" h="280211">
                  <a:moveTo>
                    <a:pt x="266509" y="272975"/>
                  </a:moveTo>
                  <a:cubicBezTo>
                    <a:pt x="259303" y="270583"/>
                    <a:pt x="249069" y="265163"/>
                    <a:pt x="235837" y="234461"/>
                  </a:cubicBezTo>
                  <a:lnTo>
                    <a:pt x="138977" y="1077"/>
                  </a:lnTo>
                  <a:cubicBezTo>
                    <a:pt x="137766" y="-1920"/>
                    <a:pt x="136555" y="2288"/>
                    <a:pt x="136555" y="2288"/>
                  </a:cubicBezTo>
                  <a:lnTo>
                    <a:pt x="45720" y="239306"/>
                  </a:lnTo>
                  <a:cubicBezTo>
                    <a:pt x="39120" y="257957"/>
                    <a:pt x="31883" y="272400"/>
                    <a:pt x="14443" y="274186"/>
                  </a:cubicBezTo>
                  <a:cubicBezTo>
                    <a:pt x="11445" y="274792"/>
                    <a:pt x="0" y="275397"/>
                    <a:pt x="0" y="275397"/>
                  </a:cubicBezTo>
                  <a:lnTo>
                    <a:pt x="0" y="277214"/>
                  </a:lnTo>
                  <a:cubicBezTo>
                    <a:pt x="0" y="277214"/>
                    <a:pt x="2392" y="280212"/>
                    <a:pt x="7206" y="280212"/>
                  </a:cubicBezTo>
                  <a:lnTo>
                    <a:pt x="78784" y="280212"/>
                  </a:lnTo>
                  <a:cubicBezTo>
                    <a:pt x="82387" y="280212"/>
                    <a:pt x="84204" y="277214"/>
                    <a:pt x="84204" y="277214"/>
                  </a:cubicBezTo>
                  <a:lnTo>
                    <a:pt x="84204" y="276003"/>
                  </a:lnTo>
                  <a:lnTo>
                    <a:pt x="76998" y="275397"/>
                  </a:lnTo>
                  <a:cubicBezTo>
                    <a:pt x="70367" y="275397"/>
                    <a:pt x="62555" y="271794"/>
                    <a:pt x="62555" y="264558"/>
                  </a:cubicBezTo>
                  <a:cubicBezTo>
                    <a:pt x="62555" y="257321"/>
                    <a:pt x="64341" y="248329"/>
                    <a:pt x="67975" y="239306"/>
                  </a:cubicBezTo>
                  <a:lnTo>
                    <a:pt x="92046" y="169515"/>
                  </a:lnTo>
                  <a:lnTo>
                    <a:pt x="176855" y="170120"/>
                  </a:lnTo>
                  <a:lnTo>
                    <a:pt x="212947" y="264558"/>
                  </a:lnTo>
                  <a:cubicBezTo>
                    <a:pt x="215339" y="270583"/>
                    <a:pt x="212947" y="273581"/>
                    <a:pt x="210525" y="274186"/>
                  </a:cubicBezTo>
                  <a:cubicBezTo>
                    <a:pt x="209314" y="274792"/>
                    <a:pt x="208102" y="275397"/>
                    <a:pt x="208102" y="277184"/>
                  </a:cubicBezTo>
                  <a:cubicBezTo>
                    <a:pt x="208102" y="279576"/>
                    <a:pt x="211706" y="280181"/>
                    <a:pt x="218942" y="280181"/>
                  </a:cubicBezTo>
                  <a:lnTo>
                    <a:pt x="277894" y="280181"/>
                  </a:lnTo>
                  <a:cubicBezTo>
                    <a:pt x="282103" y="280181"/>
                    <a:pt x="285706" y="277184"/>
                    <a:pt x="285706" y="277184"/>
                  </a:cubicBezTo>
                  <a:lnTo>
                    <a:pt x="285100" y="275367"/>
                  </a:lnTo>
                  <a:cubicBezTo>
                    <a:pt x="285100" y="275367"/>
                    <a:pt x="272474" y="274762"/>
                    <a:pt x="266449" y="272945"/>
                  </a:cubicBezTo>
                  <a:moveTo>
                    <a:pt x="95619" y="156253"/>
                  </a:moveTo>
                  <a:lnTo>
                    <a:pt x="133527" y="47373"/>
                  </a:lnTo>
                  <a:lnTo>
                    <a:pt x="172011" y="156253"/>
                  </a:lnTo>
                  <a:lnTo>
                    <a:pt x="95619" y="156253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5F88596-09C6-E334-6B0D-F3077DBF4C0C}"/>
                </a:ext>
              </a:extLst>
            </p:cNvPr>
            <p:cNvSpPr/>
            <p:nvPr/>
          </p:nvSpPr>
          <p:spPr>
            <a:xfrm>
              <a:off x="6620777" y="3593158"/>
              <a:ext cx="285130" cy="280211"/>
            </a:xfrm>
            <a:custGeom>
              <a:avLst/>
              <a:gdLst>
                <a:gd name="connsiteX0" fmla="*/ 266509 w 285130"/>
                <a:gd name="connsiteY0" fmla="*/ 272975 h 280211"/>
                <a:gd name="connsiteX1" fmla="*/ 235837 w 285130"/>
                <a:gd name="connsiteY1" fmla="*/ 234461 h 280211"/>
                <a:gd name="connsiteX2" fmla="*/ 138977 w 285130"/>
                <a:gd name="connsiteY2" fmla="*/ 1077 h 280211"/>
                <a:gd name="connsiteX3" fmla="*/ 136555 w 285130"/>
                <a:gd name="connsiteY3" fmla="*/ 2288 h 280211"/>
                <a:gd name="connsiteX4" fmla="*/ 45720 w 285130"/>
                <a:gd name="connsiteY4" fmla="*/ 239306 h 280211"/>
                <a:gd name="connsiteX5" fmla="*/ 14443 w 285130"/>
                <a:gd name="connsiteY5" fmla="*/ 274186 h 280211"/>
                <a:gd name="connsiteX6" fmla="*/ 0 w 285130"/>
                <a:gd name="connsiteY6" fmla="*/ 275397 h 280211"/>
                <a:gd name="connsiteX7" fmla="*/ 0 w 285130"/>
                <a:gd name="connsiteY7" fmla="*/ 277214 h 280211"/>
                <a:gd name="connsiteX8" fmla="*/ 7206 w 285130"/>
                <a:gd name="connsiteY8" fmla="*/ 280212 h 280211"/>
                <a:gd name="connsiteX9" fmla="*/ 78784 w 285130"/>
                <a:gd name="connsiteY9" fmla="*/ 280212 h 280211"/>
                <a:gd name="connsiteX10" fmla="*/ 84204 w 285130"/>
                <a:gd name="connsiteY10" fmla="*/ 277214 h 280211"/>
                <a:gd name="connsiteX11" fmla="*/ 84204 w 285130"/>
                <a:gd name="connsiteY11" fmla="*/ 276003 h 280211"/>
                <a:gd name="connsiteX12" fmla="*/ 76998 w 285130"/>
                <a:gd name="connsiteY12" fmla="*/ 275397 h 280211"/>
                <a:gd name="connsiteX13" fmla="*/ 62555 w 285130"/>
                <a:gd name="connsiteY13" fmla="*/ 264558 h 280211"/>
                <a:gd name="connsiteX14" fmla="*/ 67975 w 285130"/>
                <a:gd name="connsiteY14" fmla="*/ 239306 h 280211"/>
                <a:gd name="connsiteX15" fmla="*/ 92046 w 285130"/>
                <a:gd name="connsiteY15" fmla="*/ 169515 h 280211"/>
                <a:gd name="connsiteX16" fmla="*/ 176855 w 285130"/>
                <a:gd name="connsiteY16" fmla="*/ 170120 h 280211"/>
                <a:gd name="connsiteX17" fmla="*/ 212947 w 285130"/>
                <a:gd name="connsiteY17" fmla="*/ 264558 h 280211"/>
                <a:gd name="connsiteX18" fmla="*/ 210525 w 285130"/>
                <a:gd name="connsiteY18" fmla="*/ 274186 h 280211"/>
                <a:gd name="connsiteX19" fmla="*/ 208133 w 285130"/>
                <a:gd name="connsiteY19" fmla="*/ 277184 h 280211"/>
                <a:gd name="connsiteX20" fmla="*/ 218972 w 285130"/>
                <a:gd name="connsiteY20" fmla="*/ 280181 h 280211"/>
                <a:gd name="connsiteX21" fmla="*/ 277924 w 285130"/>
                <a:gd name="connsiteY21" fmla="*/ 280181 h 280211"/>
                <a:gd name="connsiteX22" fmla="*/ 285130 w 285130"/>
                <a:gd name="connsiteY22" fmla="*/ 277184 h 280211"/>
                <a:gd name="connsiteX23" fmla="*/ 285130 w 285130"/>
                <a:gd name="connsiteY23" fmla="*/ 275367 h 280211"/>
                <a:gd name="connsiteX24" fmla="*/ 266479 w 285130"/>
                <a:gd name="connsiteY24" fmla="*/ 272945 h 280211"/>
                <a:gd name="connsiteX25" fmla="*/ 95649 w 285130"/>
                <a:gd name="connsiteY25" fmla="*/ 156253 h 280211"/>
                <a:gd name="connsiteX26" fmla="*/ 133557 w 285130"/>
                <a:gd name="connsiteY26" fmla="*/ 47373 h 280211"/>
                <a:gd name="connsiteX27" fmla="*/ 172041 w 285130"/>
                <a:gd name="connsiteY27" fmla="*/ 156253 h 280211"/>
                <a:gd name="connsiteX28" fmla="*/ 95649 w 285130"/>
                <a:gd name="connsiteY28" fmla="*/ 156253 h 28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5130" h="280211">
                  <a:moveTo>
                    <a:pt x="266509" y="272975"/>
                  </a:moveTo>
                  <a:cubicBezTo>
                    <a:pt x="259303" y="270583"/>
                    <a:pt x="248463" y="265163"/>
                    <a:pt x="235837" y="234461"/>
                  </a:cubicBezTo>
                  <a:lnTo>
                    <a:pt x="138977" y="1077"/>
                  </a:lnTo>
                  <a:cubicBezTo>
                    <a:pt x="137766" y="-1920"/>
                    <a:pt x="136555" y="2288"/>
                    <a:pt x="136555" y="2288"/>
                  </a:cubicBezTo>
                  <a:lnTo>
                    <a:pt x="45720" y="239306"/>
                  </a:lnTo>
                  <a:cubicBezTo>
                    <a:pt x="39119" y="257957"/>
                    <a:pt x="31277" y="272400"/>
                    <a:pt x="14443" y="274186"/>
                  </a:cubicBezTo>
                  <a:cubicBezTo>
                    <a:pt x="11445" y="274792"/>
                    <a:pt x="0" y="275397"/>
                    <a:pt x="0" y="275397"/>
                  </a:cubicBezTo>
                  <a:lnTo>
                    <a:pt x="0" y="277214"/>
                  </a:lnTo>
                  <a:cubicBezTo>
                    <a:pt x="0" y="277214"/>
                    <a:pt x="2422" y="280212"/>
                    <a:pt x="7206" y="280212"/>
                  </a:cubicBezTo>
                  <a:lnTo>
                    <a:pt x="78784" y="280212"/>
                  </a:lnTo>
                  <a:cubicBezTo>
                    <a:pt x="82387" y="280212"/>
                    <a:pt x="84204" y="277214"/>
                    <a:pt x="84204" y="277214"/>
                  </a:cubicBezTo>
                  <a:lnTo>
                    <a:pt x="84204" y="276003"/>
                  </a:lnTo>
                  <a:lnTo>
                    <a:pt x="76998" y="275397"/>
                  </a:lnTo>
                  <a:cubicBezTo>
                    <a:pt x="70367" y="275397"/>
                    <a:pt x="62555" y="271794"/>
                    <a:pt x="62555" y="264558"/>
                  </a:cubicBezTo>
                  <a:cubicBezTo>
                    <a:pt x="62555" y="257321"/>
                    <a:pt x="64341" y="248329"/>
                    <a:pt x="67975" y="239306"/>
                  </a:cubicBezTo>
                  <a:lnTo>
                    <a:pt x="92046" y="169515"/>
                  </a:lnTo>
                  <a:lnTo>
                    <a:pt x="176855" y="170120"/>
                  </a:lnTo>
                  <a:lnTo>
                    <a:pt x="212947" y="264558"/>
                  </a:lnTo>
                  <a:cubicBezTo>
                    <a:pt x="214733" y="270583"/>
                    <a:pt x="212947" y="273581"/>
                    <a:pt x="210525" y="274186"/>
                  </a:cubicBezTo>
                  <a:cubicBezTo>
                    <a:pt x="208708" y="274792"/>
                    <a:pt x="208133" y="275397"/>
                    <a:pt x="208133" y="277184"/>
                  </a:cubicBezTo>
                  <a:cubicBezTo>
                    <a:pt x="208133" y="279576"/>
                    <a:pt x="211736" y="280181"/>
                    <a:pt x="218972" y="280181"/>
                  </a:cubicBezTo>
                  <a:lnTo>
                    <a:pt x="277924" y="280181"/>
                  </a:lnTo>
                  <a:cubicBezTo>
                    <a:pt x="282133" y="280181"/>
                    <a:pt x="285130" y="277184"/>
                    <a:pt x="285130" y="277184"/>
                  </a:cubicBezTo>
                  <a:lnTo>
                    <a:pt x="285130" y="275367"/>
                  </a:lnTo>
                  <a:cubicBezTo>
                    <a:pt x="285130" y="275367"/>
                    <a:pt x="272504" y="274762"/>
                    <a:pt x="266479" y="272945"/>
                  </a:cubicBezTo>
                  <a:moveTo>
                    <a:pt x="95649" y="156253"/>
                  </a:moveTo>
                  <a:lnTo>
                    <a:pt x="133557" y="47373"/>
                  </a:lnTo>
                  <a:lnTo>
                    <a:pt x="172041" y="156253"/>
                  </a:lnTo>
                  <a:lnTo>
                    <a:pt x="95649" y="156253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F9BC476-E8AC-D78E-0EE8-20374BFCBF9E}"/>
                </a:ext>
              </a:extLst>
            </p:cNvPr>
            <p:cNvSpPr/>
            <p:nvPr/>
          </p:nvSpPr>
          <p:spPr>
            <a:xfrm>
              <a:off x="5803900" y="3558144"/>
              <a:ext cx="249038" cy="315195"/>
            </a:xfrm>
            <a:custGeom>
              <a:avLst/>
              <a:gdLst>
                <a:gd name="connsiteX0" fmla="*/ 7812 w 249038"/>
                <a:gd name="connsiteY0" fmla="*/ 315196 h 315195"/>
                <a:gd name="connsiteX1" fmla="*/ 2392 w 249038"/>
                <a:gd name="connsiteY1" fmla="*/ 311592 h 315195"/>
                <a:gd name="connsiteX2" fmla="*/ 2392 w 249038"/>
                <a:gd name="connsiteY2" fmla="*/ 309776 h 315195"/>
                <a:gd name="connsiteX3" fmla="*/ 16229 w 249038"/>
                <a:gd name="connsiteY3" fmla="*/ 307989 h 315195"/>
                <a:gd name="connsiteX4" fmla="*/ 30066 w 249038"/>
                <a:gd name="connsiteY4" fmla="*/ 287552 h 315195"/>
                <a:gd name="connsiteX5" fmla="*/ 31853 w 249038"/>
                <a:gd name="connsiteY5" fmla="*/ 208738 h 315195"/>
                <a:gd name="connsiteX6" fmla="*/ 31853 w 249038"/>
                <a:gd name="connsiteY6" fmla="*/ 144366 h 315195"/>
                <a:gd name="connsiteX7" fmla="*/ 30642 w 249038"/>
                <a:gd name="connsiteY7" fmla="*/ 27069 h 315195"/>
                <a:gd name="connsiteX8" fmla="*/ 15018 w 249038"/>
                <a:gd name="connsiteY8" fmla="*/ 6601 h 315195"/>
                <a:gd name="connsiteX9" fmla="*/ 2998 w 249038"/>
                <a:gd name="connsiteY9" fmla="*/ 5390 h 315195"/>
                <a:gd name="connsiteX10" fmla="*/ 0 w 249038"/>
                <a:gd name="connsiteY10" fmla="*/ 3603 h 315195"/>
                <a:gd name="connsiteX11" fmla="*/ 606 w 249038"/>
                <a:gd name="connsiteY11" fmla="*/ 0 h 315195"/>
                <a:gd name="connsiteX12" fmla="*/ 49323 w 249038"/>
                <a:gd name="connsiteY12" fmla="*/ 1786 h 315195"/>
                <a:gd name="connsiteX13" fmla="*/ 93832 w 249038"/>
                <a:gd name="connsiteY13" fmla="*/ 0 h 315195"/>
                <a:gd name="connsiteX14" fmla="*/ 93832 w 249038"/>
                <a:gd name="connsiteY14" fmla="*/ 3603 h 315195"/>
                <a:gd name="connsiteX15" fmla="*/ 91440 w 249038"/>
                <a:gd name="connsiteY15" fmla="*/ 5390 h 315195"/>
                <a:gd name="connsiteX16" fmla="*/ 79420 w 249038"/>
                <a:gd name="connsiteY16" fmla="*/ 6601 h 315195"/>
                <a:gd name="connsiteX17" fmla="*/ 64977 w 249038"/>
                <a:gd name="connsiteY17" fmla="*/ 27069 h 315195"/>
                <a:gd name="connsiteX18" fmla="*/ 64372 w 249038"/>
                <a:gd name="connsiteY18" fmla="*/ 144366 h 315195"/>
                <a:gd name="connsiteX19" fmla="*/ 64372 w 249038"/>
                <a:gd name="connsiteY19" fmla="*/ 209343 h 315195"/>
                <a:gd name="connsiteX20" fmla="*/ 72183 w 249038"/>
                <a:gd name="connsiteY20" fmla="*/ 289944 h 315195"/>
                <a:gd name="connsiteX21" fmla="*/ 161232 w 249038"/>
                <a:gd name="connsiteY21" fmla="*/ 299572 h 315195"/>
                <a:gd name="connsiteX22" fmla="*/ 174463 w 249038"/>
                <a:gd name="connsiteY22" fmla="*/ 299572 h 315195"/>
                <a:gd name="connsiteX23" fmla="*/ 233415 w 249038"/>
                <a:gd name="connsiteY23" fmla="*/ 281526 h 315195"/>
                <a:gd name="connsiteX24" fmla="*/ 241227 w 249038"/>
                <a:gd name="connsiteY24" fmla="*/ 262269 h 315195"/>
                <a:gd name="connsiteX25" fmla="*/ 244830 w 249038"/>
                <a:gd name="connsiteY25" fmla="*/ 256850 h 315195"/>
                <a:gd name="connsiteX26" fmla="*/ 249039 w 249038"/>
                <a:gd name="connsiteY26" fmla="*/ 256850 h 315195"/>
                <a:gd name="connsiteX27" fmla="*/ 240016 w 249038"/>
                <a:gd name="connsiteY27" fmla="*/ 306173 h 315195"/>
                <a:gd name="connsiteX28" fmla="*/ 228601 w 249038"/>
                <a:gd name="connsiteY28" fmla="*/ 315196 h 315195"/>
                <a:gd name="connsiteX29" fmla="*/ 7812 w 249038"/>
                <a:gd name="connsiteY29" fmla="*/ 315196 h 31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49038" h="315195">
                  <a:moveTo>
                    <a:pt x="7812" y="315196"/>
                  </a:moveTo>
                  <a:cubicBezTo>
                    <a:pt x="4209" y="315196"/>
                    <a:pt x="2392" y="311592"/>
                    <a:pt x="2392" y="311592"/>
                  </a:cubicBezTo>
                  <a:lnTo>
                    <a:pt x="2392" y="309776"/>
                  </a:lnTo>
                  <a:cubicBezTo>
                    <a:pt x="2392" y="309776"/>
                    <a:pt x="12626" y="308565"/>
                    <a:pt x="16229" y="307989"/>
                  </a:cubicBezTo>
                  <a:cubicBezTo>
                    <a:pt x="23435" y="306173"/>
                    <a:pt x="28250" y="297755"/>
                    <a:pt x="30066" y="287552"/>
                  </a:cubicBezTo>
                  <a:cubicBezTo>
                    <a:pt x="31853" y="271898"/>
                    <a:pt x="31853" y="243648"/>
                    <a:pt x="31853" y="208738"/>
                  </a:cubicBezTo>
                  <a:lnTo>
                    <a:pt x="31853" y="144366"/>
                  </a:lnTo>
                  <a:cubicBezTo>
                    <a:pt x="31853" y="87837"/>
                    <a:pt x="31853" y="39089"/>
                    <a:pt x="30642" y="27069"/>
                  </a:cubicBezTo>
                  <a:cubicBezTo>
                    <a:pt x="30036" y="15048"/>
                    <a:pt x="27038" y="9023"/>
                    <a:pt x="15018" y="6601"/>
                  </a:cubicBezTo>
                  <a:cubicBezTo>
                    <a:pt x="12626" y="5995"/>
                    <a:pt x="2998" y="5390"/>
                    <a:pt x="2998" y="5390"/>
                  </a:cubicBezTo>
                  <a:lnTo>
                    <a:pt x="0" y="3603"/>
                  </a:lnTo>
                  <a:lnTo>
                    <a:pt x="606" y="0"/>
                  </a:lnTo>
                  <a:cubicBezTo>
                    <a:pt x="606" y="0"/>
                    <a:pt x="47537" y="1786"/>
                    <a:pt x="49323" y="1786"/>
                  </a:cubicBezTo>
                  <a:cubicBezTo>
                    <a:pt x="51110" y="1786"/>
                    <a:pt x="93832" y="0"/>
                    <a:pt x="93832" y="0"/>
                  </a:cubicBezTo>
                  <a:lnTo>
                    <a:pt x="93832" y="3603"/>
                  </a:lnTo>
                  <a:lnTo>
                    <a:pt x="91440" y="5390"/>
                  </a:lnTo>
                  <a:cubicBezTo>
                    <a:pt x="91440" y="5390"/>
                    <a:pt x="83629" y="5995"/>
                    <a:pt x="79420" y="6601"/>
                  </a:cubicBezTo>
                  <a:cubicBezTo>
                    <a:pt x="68580" y="8417"/>
                    <a:pt x="65583" y="14412"/>
                    <a:pt x="64977" y="27069"/>
                  </a:cubicBezTo>
                  <a:cubicBezTo>
                    <a:pt x="64372" y="39089"/>
                    <a:pt x="64372" y="87837"/>
                    <a:pt x="64372" y="144366"/>
                  </a:cubicBezTo>
                  <a:lnTo>
                    <a:pt x="64372" y="209343"/>
                  </a:lnTo>
                  <a:cubicBezTo>
                    <a:pt x="64372" y="262875"/>
                    <a:pt x="66158" y="282737"/>
                    <a:pt x="72183" y="289944"/>
                  </a:cubicBezTo>
                  <a:cubicBezTo>
                    <a:pt x="78814" y="297150"/>
                    <a:pt x="119720" y="298966"/>
                    <a:pt x="161232" y="299572"/>
                  </a:cubicBezTo>
                  <a:lnTo>
                    <a:pt x="174463" y="299572"/>
                  </a:lnTo>
                  <a:cubicBezTo>
                    <a:pt x="215975" y="299572"/>
                    <a:pt x="225603" y="292366"/>
                    <a:pt x="233415" y="281526"/>
                  </a:cubicBezTo>
                  <a:cubicBezTo>
                    <a:pt x="237018" y="277318"/>
                    <a:pt x="240621" y="267689"/>
                    <a:pt x="241227" y="262269"/>
                  </a:cubicBezTo>
                  <a:cubicBezTo>
                    <a:pt x="242438" y="258666"/>
                    <a:pt x="244830" y="256850"/>
                    <a:pt x="244830" y="256850"/>
                  </a:cubicBezTo>
                  <a:lnTo>
                    <a:pt x="249039" y="256850"/>
                  </a:lnTo>
                  <a:cubicBezTo>
                    <a:pt x="249039" y="256850"/>
                    <a:pt x="242408" y="297150"/>
                    <a:pt x="240016" y="306173"/>
                  </a:cubicBezTo>
                  <a:cubicBezTo>
                    <a:pt x="238199" y="314620"/>
                    <a:pt x="237594" y="315196"/>
                    <a:pt x="228601" y="315196"/>
                  </a:cubicBezTo>
                  <a:lnTo>
                    <a:pt x="7812" y="315196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3CE5735-9D83-04B7-DEF1-E33990BD0CA3}"/>
                </a:ext>
              </a:extLst>
            </p:cNvPr>
            <p:cNvSpPr/>
            <p:nvPr/>
          </p:nvSpPr>
          <p:spPr>
            <a:xfrm>
              <a:off x="6925770" y="3602077"/>
              <a:ext cx="283283" cy="271322"/>
            </a:xfrm>
            <a:custGeom>
              <a:avLst/>
              <a:gdLst>
                <a:gd name="connsiteX0" fmla="*/ 265904 w 283283"/>
                <a:gd name="connsiteY0" fmla="*/ 265267 h 271322"/>
                <a:gd name="connsiteX1" fmla="*/ 222000 w 283283"/>
                <a:gd name="connsiteY1" fmla="*/ 239409 h 271322"/>
                <a:gd name="connsiteX2" fmla="*/ 147395 w 283283"/>
                <a:gd name="connsiteY2" fmla="*/ 147364 h 271322"/>
                <a:gd name="connsiteX3" fmla="*/ 191298 w 283283"/>
                <a:gd name="connsiteY3" fmla="*/ 64341 h 271322"/>
                <a:gd name="connsiteX4" fmla="*/ 166046 w 283283"/>
                <a:gd name="connsiteY4" fmla="*/ 15624 h 271322"/>
                <a:gd name="connsiteX5" fmla="*/ 88443 w 283283"/>
                <a:gd name="connsiteY5" fmla="*/ 0 h 271322"/>
                <a:gd name="connsiteX6" fmla="*/ 46326 w 283283"/>
                <a:gd name="connsiteY6" fmla="*/ 606 h 271322"/>
                <a:gd name="connsiteX7" fmla="*/ 0 w 283283"/>
                <a:gd name="connsiteY7" fmla="*/ 0 h 271322"/>
                <a:gd name="connsiteX8" fmla="*/ 0 w 283283"/>
                <a:gd name="connsiteY8" fmla="*/ 2392 h 271322"/>
                <a:gd name="connsiteX9" fmla="*/ 2998 w 283283"/>
                <a:gd name="connsiteY9" fmla="*/ 4814 h 271322"/>
                <a:gd name="connsiteX10" fmla="*/ 15018 w 283283"/>
                <a:gd name="connsiteY10" fmla="*/ 6025 h 271322"/>
                <a:gd name="connsiteX11" fmla="*/ 30642 w 283283"/>
                <a:gd name="connsiteY11" fmla="*/ 26463 h 271322"/>
                <a:gd name="connsiteX12" fmla="*/ 31247 w 283283"/>
                <a:gd name="connsiteY12" fmla="*/ 104066 h 271322"/>
                <a:gd name="connsiteX13" fmla="*/ 31247 w 283283"/>
                <a:gd name="connsiteY13" fmla="*/ 167226 h 271322"/>
                <a:gd name="connsiteX14" fmla="*/ 29430 w 283283"/>
                <a:gd name="connsiteY14" fmla="*/ 245435 h 271322"/>
                <a:gd name="connsiteX15" fmla="*/ 18591 w 283283"/>
                <a:gd name="connsiteY15" fmla="*/ 265297 h 271322"/>
                <a:gd name="connsiteX16" fmla="*/ 5359 w 283283"/>
                <a:gd name="connsiteY16" fmla="*/ 266508 h 271322"/>
                <a:gd name="connsiteX17" fmla="*/ 5359 w 283283"/>
                <a:gd name="connsiteY17" fmla="*/ 268900 h 271322"/>
                <a:gd name="connsiteX18" fmla="*/ 10779 w 283283"/>
                <a:gd name="connsiteY18" fmla="*/ 271322 h 271322"/>
                <a:gd name="connsiteX19" fmla="*/ 88988 w 283283"/>
                <a:gd name="connsiteY19" fmla="*/ 271322 h 271322"/>
                <a:gd name="connsiteX20" fmla="*/ 94408 w 283283"/>
                <a:gd name="connsiteY20" fmla="*/ 268900 h 271322"/>
                <a:gd name="connsiteX21" fmla="*/ 93802 w 283283"/>
                <a:gd name="connsiteY21" fmla="*/ 266508 h 271322"/>
                <a:gd name="connsiteX22" fmla="*/ 75756 w 283283"/>
                <a:gd name="connsiteY22" fmla="*/ 265297 h 271322"/>
                <a:gd name="connsiteX23" fmla="*/ 61313 w 283283"/>
                <a:gd name="connsiteY23" fmla="*/ 245435 h 271322"/>
                <a:gd name="connsiteX24" fmla="*/ 60102 w 283283"/>
                <a:gd name="connsiteY24" fmla="*/ 167226 h 271322"/>
                <a:gd name="connsiteX25" fmla="*/ 60102 w 283283"/>
                <a:gd name="connsiteY25" fmla="*/ 158809 h 271322"/>
                <a:gd name="connsiteX26" fmla="*/ 62525 w 283283"/>
                <a:gd name="connsiteY26" fmla="*/ 155811 h 271322"/>
                <a:gd name="connsiteX27" fmla="*/ 118449 w 283283"/>
                <a:gd name="connsiteY27" fmla="*/ 156417 h 271322"/>
                <a:gd name="connsiteX28" fmla="*/ 123263 w 283283"/>
                <a:gd name="connsiteY28" fmla="*/ 158839 h 271322"/>
                <a:gd name="connsiteX29" fmla="*/ 162382 w 283283"/>
                <a:gd name="connsiteY29" fmla="*/ 211765 h 271322"/>
                <a:gd name="connsiteX30" fmla="*/ 210495 w 283283"/>
                <a:gd name="connsiteY30" fmla="*/ 264692 h 271322"/>
                <a:gd name="connsiteX31" fmla="*/ 249009 w 283283"/>
                <a:gd name="connsiteY31" fmla="*/ 271322 h 271322"/>
                <a:gd name="connsiteX32" fmla="*/ 274866 w 283283"/>
                <a:gd name="connsiteY32" fmla="*/ 271322 h 271322"/>
                <a:gd name="connsiteX33" fmla="*/ 283283 w 283283"/>
                <a:gd name="connsiteY33" fmla="*/ 268900 h 271322"/>
                <a:gd name="connsiteX34" fmla="*/ 281467 w 283283"/>
                <a:gd name="connsiteY34" fmla="*/ 266508 h 271322"/>
                <a:gd name="connsiteX35" fmla="*/ 265843 w 283283"/>
                <a:gd name="connsiteY35" fmla="*/ 265297 h 271322"/>
                <a:gd name="connsiteX36" fmla="*/ 138917 w 283283"/>
                <a:gd name="connsiteY36" fmla="*/ 138371 h 271322"/>
                <a:gd name="connsiteX37" fmla="*/ 99827 w 283283"/>
                <a:gd name="connsiteY37" fmla="*/ 145577 h 271322"/>
                <a:gd name="connsiteX38" fmla="*/ 62525 w 283283"/>
                <a:gd name="connsiteY38" fmla="*/ 139552 h 271322"/>
                <a:gd name="connsiteX39" fmla="*/ 60102 w 283283"/>
                <a:gd name="connsiteY39" fmla="*/ 135343 h 271322"/>
                <a:gd name="connsiteX40" fmla="*/ 60102 w 283283"/>
                <a:gd name="connsiteY40" fmla="*/ 17410 h 271322"/>
                <a:gd name="connsiteX41" fmla="*/ 62525 w 283283"/>
                <a:gd name="connsiteY41" fmla="*/ 13201 h 271322"/>
                <a:gd name="connsiteX42" fmla="*/ 86596 w 283283"/>
                <a:gd name="connsiteY42" fmla="*/ 11385 h 271322"/>
                <a:gd name="connsiteX43" fmla="*/ 160596 w 283283"/>
                <a:gd name="connsiteY43" fmla="*/ 82962 h 271322"/>
                <a:gd name="connsiteX44" fmla="*/ 138947 w 283283"/>
                <a:gd name="connsiteY44" fmla="*/ 138311 h 27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83283" h="271322">
                  <a:moveTo>
                    <a:pt x="265904" y="265267"/>
                  </a:moveTo>
                  <a:cubicBezTo>
                    <a:pt x="256881" y="264056"/>
                    <a:pt x="241833" y="259847"/>
                    <a:pt x="222000" y="239409"/>
                  </a:cubicBezTo>
                  <a:cubicBezTo>
                    <a:pt x="201562" y="217155"/>
                    <a:pt x="176886" y="185272"/>
                    <a:pt x="147395" y="147364"/>
                  </a:cubicBezTo>
                  <a:cubicBezTo>
                    <a:pt x="179883" y="117873"/>
                    <a:pt x="191298" y="90834"/>
                    <a:pt x="191298" y="64341"/>
                  </a:cubicBezTo>
                  <a:cubicBezTo>
                    <a:pt x="191298" y="39664"/>
                    <a:pt x="175039" y="22224"/>
                    <a:pt x="166046" y="15624"/>
                  </a:cubicBezTo>
                  <a:cubicBezTo>
                    <a:pt x="147395" y="1786"/>
                    <a:pt x="111303" y="0"/>
                    <a:pt x="88443" y="0"/>
                  </a:cubicBezTo>
                  <a:cubicBezTo>
                    <a:pt x="77603" y="0"/>
                    <a:pt x="49929" y="606"/>
                    <a:pt x="46326" y="606"/>
                  </a:cubicBezTo>
                  <a:cubicBezTo>
                    <a:pt x="44539" y="606"/>
                    <a:pt x="0" y="0"/>
                    <a:pt x="0" y="0"/>
                  </a:cubicBezTo>
                  <a:lnTo>
                    <a:pt x="0" y="2392"/>
                  </a:lnTo>
                  <a:cubicBezTo>
                    <a:pt x="0" y="2392"/>
                    <a:pt x="1211" y="4814"/>
                    <a:pt x="2998" y="4814"/>
                  </a:cubicBezTo>
                  <a:cubicBezTo>
                    <a:pt x="5995" y="4814"/>
                    <a:pt x="12020" y="5420"/>
                    <a:pt x="15018" y="6025"/>
                  </a:cubicBezTo>
                  <a:cubicBezTo>
                    <a:pt x="27039" y="8448"/>
                    <a:pt x="29461" y="13837"/>
                    <a:pt x="30642" y="26463"/>
                  </a:cubicBezTo>
                  <a:cubicBezTo>
                    <a:pt x="31247" y="37908"/>
                    <a:pt x="31247" y="48112"/>
                    <a:pt x="31247" y="104066"/>
                  </a:cubicBezTo>
                  <a:lnTo>
                    <a:pt x="31247" y="167226"/>
                  </a:lnTo>
                  <a:cubicBezTo>
                    <a:pt x="31247" y="202107"/>
                    <a:pt x="31247" y="230386"/>
                    <a:pt x="29430" y="245435"/>
                  </a:cubicBezTo>
                  <a:cubicBezTo>
                    <a:pt x="27644" y="255669"/>
                    <a:pt x="25827" y="263480"/>
                    <a:pt x="18591" y="265297"/>
                  </a:cubicBezTo>
                  <a:cubicBezTo>
                    <a:pt x="15593" y="265903"/>
                    <a:pt x="5359" y="266508"/>
                    <a:pt x="5359" y="266508"/>
                  </a:cubicBezTo>
                  <a:lnTo>
                    <a:pt x="5359" y="268900"/>
                  </a:lnTo>
                  <a:cubicBezTo>
                    <a:pt x="5359" y="268900"/>
                    <a:pt x="7146" y="271322"/>
                    <a:pt x="10779" y="271322"/>
                  </a:cubicBezTo>
                  <a:lnTo>
                    <a:pt x="88988" y="271322"/>
                  </a:lnTo>
                  <a:cubicBezTo>
                    <a:pt x="92591" y="271322"/>
                    <a:pt x="94408" y="268900"/>
                    <a:pt x="94408" y="268900"/>
                  </a:cubicBezTo>
                  <a:lnTo>
                    <a:pt x="93802" y="266508"/>
                  </a:lnTo>
                  <a:cubicBezTo>
                    <a:pt x="93802" y="266508"/>
                    <a:pt x="80571" y="265903"/>
                    <a:pt x="75756" y="265297"/>
                  </a:cubicBezTo>
                  <a:cubicBezTo>
                    <a:pt x="64917" y="263480"/>
                    <a:pt x="62525" y="255669"/>
                    <a:pt x="61313" y="245435"/>
                  </a:cubicBezTo>
                  <a:cubicBezTo>
                    <a:pt x="60102" y="230386"/>
                    <a:pt x="60102" y="202137"/>
                    <a:pt x="60102" y="167226"/>
                  </a:cubicBezTo>
                  <a:lnTo>
                    <a:pt x="60102" y="158809"/>
                  </a:lnTo>
                  <a:cubicBezTo>
                    <a:pt x="60102" y="156992"/>
                    <a:pt x="60708" y="155811"/>
                    <a:pt x="62525" y="155811"/>
                  </a:cubicBezTo>
                  <a:lnTo>
                    <a:pt x="118449" y="156417"/>
                  </a:lnTo>
                  <a:cubicBezTo>
                    <a:pt x="120871" y="156417"/>
                    <a:pt x="121446" y="157022"/>
                    <a:pt x="123263" y="158839"/>
                  </a:cubicBezTo>
                  <a:cubicBezTo>
                    <a:pt x="130499" y="167862"/>
                    <a:pt x="147334" y="191933"/>
                    <a:pt x="162382" y="211765"/>
                  </a:cubicBezTo>
                  <a:cubicBezTo>
                    <a:pt x="182820" y="238834"/>
                    <a:pt x="195476" y="256274"/>
                    <a:pt x="210495" y="264692"/>
                  </a:cubicBezTo>
                  <a:cubicBezTo>
                    <a:pt x="220123" y="269506"/>
                    <a:pt x="229146" y="271322"/>
                    <a:pt x="249009" y="271322"/>
                  </a:cubicBezTo>
                  <a:lnTo>
                    <a:pt x="274866" y="271322"/>
                  </a:lnTo>
                  <a:cubicBezTo>
                    <a:pt x="280892" y="271322"/>
                    <a:pt x="283283" y="268900"/>
                    <a:pt x="283283" y="268900"/>
                  </a:cubicBezTo>
                  <a:lnTo>
                    <a:pt x="281467" y="266508"/>
                  </a:lnTo>
                  <a:cubicBezTo>
                    <a:pt x="281467" y="266508"/>
                    <a:pt x="273049" y="266508"/>
                    <a:pt x="265843" y="265297"/>
                  </a:cubicBezTo>
                  <a:moveTo>
                    <a:pt x="138917" y="138371"/>
                  </a:moveTo>
                  <a:cubicBezTo>
                    <a:pt x="130499" y="144396"/>
                    <a:pt x="108820" y="145577"/>
                    <a:pt x="99827" y="145577"/>
                  </a:cubicBezTo>
                  <a:cubicBezTo>
                    <a:pt x="84174" y="145577"/>
                    <a:pt x="67944" y="142580"/>
                    <a:pt x="62525" y="139552"/>
                  </a:cubicBezTo>
                  <a:cubicBezTo>
                    <a:pt x="60708" y="138341"/>
                    <a:pt x="60102" y="137130"/>
                    <a:pt x="60102" y="135343"/>
                  </a:cubicBezTo>
                  <a:lnTo>
                    <a:pt x="60102" y="17410"/>
                  </a:lnTo>
                  <a:cubicBezTo>
                    <a:pt x="60102" y="15593"/>
                    <a:pt x="60708" y="13807"/>
                    <a:pt x="62525" y="13201"/>
                  </a:cubicBezTo>
                  <a:cubicBezTo>
                    <a:pt x="66128" y="11990"/>
                    <a:pt x="75756" y="11385"/>
                    <a:pt x="86596" y="11385"/>
                  </a:cubicBezTo>
                  <a:cubicBezTo>
                    <a:pt x="125110" y="11385"/>
                    <a:pt x="160596" y="38453"/>
                    <a:pt x="160596" y="82962"/>
                  </a:cubicBezTo>
                  <a:cubicBezTo>
                    <a:pt x="160596" y="110636"/>
                    <a:pt x="151573" y="129893"/>
                    <a:pt x="138947" y="138311"/>
                  </a:cubicBezTo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42D8F49-269F-4E4F-0023-B72321DB4598}"/>
                </a:ext>
              </a:extLst>
            </p:cNvPr>
            <p:cNvSpPr/>
            <p:nvPr/>
          </p:nvSpPr>
          <p:spPr>
            <a:xfrm>
              <a:off x="7233155" y="3601441"/>
              <a:ext cx="251479" cy="271988"/>
            </a:xfrm>
            <a:custGeom>
              <a:avLst/>
              <a:gdLst>
                <a:gd name="connsiteX0" fmla="*/ 108305 w 251479"/>
                <a:gd name="connsiteY0" fmla="*/ 271898 h 271988"/>
                <a:gd name="connsiteX1" fmla="*/ 215975 w 251479"/>
                <a:gd name="connsiteY1" fmla="*/ 229781 h 271988"/>
                <a:gd name="connsiteX2" fmla="*/ 226209 w 251479"/>
                <a:gd name="connsiteY2" fmla="*/ 215944 h 271988"/>
                <a:gd name="connsiteX3" fmla="*/ 239440 w 251479"/>
                <a:gd name="connsiteY3" fmla="*/ 191873 h 271988"/>
                <a:gd name="connsiteX4" fmla="*/ 217791 w 251479"/>
                <a:gd name="connsiteY4" fmla="*/ 39089 h 271988"/>
                <a:gd name="connsiteX5" fmla="*/ 108305 w 251479"/>
                <a:gd name="connsiteY5" fmla="*/ 606 h 271988"/>
                <a:gd name="connsiteX6" fmla="*/ 0 w 251479"/>
                <a:gd name="connsiteY6" fmla="*/ 0 h 271988"/>
                <a:gd name="connsiteX7" fmla="*/ 0 w 251479"/>
                <a:gd name="connsiteY7" fmla="*/ 3603 h 271988"/>
                <a:gd name="connsiteX8" fmla="*/ 2422 w 251479"/>
                <a:gd name="connsiteY8" fmla="*/ 5420 h 271988"/>
                <a:gd name="connsiteX9" fmla="*/ 7236 w 251479"/>
                <a:gd name="connsiteY9" fmla="*/ 6025 h 271988"/>
                <a:gd name="connsiteX10" fmla="*/ 7812 w 251479"/>
                <a:gd name="connsiteY10" fmla="*/ 6025 h 271988"/>
                <a:gd name="connsiteX11" fmla="*/ 18046 w 251479"/>
                <a:gd name="connsiteY11" fmla="*/ 6631 h 271988"/>
                <a:gd name="connsiteX12" fmla="*/ 21043 w 251479"/>
                <a:gd name="connsiteY12" fmla="*/ 7842 h 271988"/>
                <a:gd name="connsiteX13" fmla="*/ 22255 w 251479"/>
                <a:gd name="connsiteY13" fmla="*/ 7842 h 271988"/>
                <a:gd name="connsiteX14" fmla="*/ 25252 w 251479"/>
                <a:gd name="connsiteY14" fmla="*/ 9053 h 271988"/>
                <a:gd name="connsiteX15" fmla="*/ 27644 w 251479"/>
                <a:gd name="connsiteY15" fmla="*/ 10870 h 271988"/>
                <a:gd name="connsiteX16" fmla="*/ 29461 w 251479"/>
                <a:gd name="connsiteY16" fmla="*/ 12687 h 271988"/>
                <a:gd name="connsiteX17" fmla="*/ 30066 w 251479"/>
                <a:gd name="connsiteY17" fmla="*/ 13292 h 271988"/>
                <a:gd name="connsiteX18" fmla="*/ 30066 w 251479"/>
                <a:gd name="connsiteY18" fmla="*/ 14503 h 271988"/>
                <a:gd name="connsiteX19" fmla="*/ 33064 w 251479"/>
                <a:gd name="connsiteY19" fmla="*/ 27129 h 271988"/>
                <a:gd name="connsiteX20" fmla="*/ 33669 w 251479"/>
                <a:gd name="connsiteY20" fmla="*/ 104732 h 271988"/>
                <a:gd name="connsiteX21" fmla="*/ 33669 w 251479"/>
                <a:gd name="connsiteY21" fmla="*/ 167892 h 271988"/>
                <a:gd name="connsiteX22" fmla="*/ 33064 w 251479"/>
                <a:gd name="connsiteY22" fmla="*/ 244890 h 271988"/>
                <a:gd name="connsiteX23" fmla="*/ 30066 w 251479"/>
                <a:gd name="connsiteY23" fmla="*/ 258121 h 271988"/>
                <a:gd name="connsiteX24" fmla="*/ 30066 w 251479"/>
                <a:gd name="connsiteY24" fmla="*/ 258727 h 271988"/>
                <a:gd name="connsiteX25" fmla="*/ 29461 w 251479"/>
                <a:gd name="connsiteY25" fmla="*/ 259332 h 271988"/>
                <a:gd name="connsiteX26" fmla="*/ 27644 w 251479"/>
                <a:gd name="connsiteY26" fmla="*/ 261149 h 271988"/>
                <a:gd name="connsiteX27" fmla="*/ 25252 w 251479"/>
                <a:gd name="connsiteY27" fmla="*/ 262935 h 271988"/>
                <a:gd name="connsiteX28" fmla="*/ 22255 w 251479"/>
                <a:gd name="connsiteY28" fmla="*/ 264752 h 271988"/>
                <a:gd name="connsiteX29" fmla="*/ 21043 w 251479"/>
                <a:gd name="connsiteY29" fmla="*/ 264752 h 271988"/>
                <a:gd name="connsiteX30" fmla="*/ 18046 w 251479"/>
                <a:gd name="connsiteY30" fmla="*/ 265358 h 271988"/>
                <a:gd name="connsiteX31" fmla="*/ 7812 w 251479"/>
                <a:gd name="connsiteY31" fmla="*/ 266569 h 271988"/>
                <a:gd name="connsiteX32" fmla="*/ 2998 w 251479"/>
                <a:gd name="connsiteY32" fmla="*/ 266569 h 271988"/>
                <a:gd name="connsiteX33" fmla="*/ 1211 w 251479"/>
                <a:gd name="connsiteY33" fmla="*/ 268991 h 271988"/>
                <a:gd name="connsiteX34" fmla="*/ 1211 w 251479"/>
                <a:gd name="connsiteY34" fmla="*/ 271989 h 271988"/>
                <a:gd name="connsiteX35" fmla="*/ 108275 w 251479"/>
                <a:gd name="connsiteY35" fmla="*/ 271989 h 271988"/>
                <a:gd name="connsiteX36" fmla="*/ 116723 w 251479"/>
                <a:gd name="connsiteY36" fmla="*/ 259272 h 271988"/>
                <a:gd name="connsiteX37" fmla="*/ 72819 w 251479"/>
                <a:gd name="connsiteY37" fmla="*/ 258061 h 271988"/>
                <a:gd name="connsiteX38" fmla="*/ 64402 w 251479"/>
                <a:gd name="connsiteY38" fmla="*/ 255669 h 271988"/>
                <a:gd name="connsiteX39" fmla="*/ 62585 w 251479"/>
                <a:gd name="connsiteY39" fmla="*/ 249643 h 271988"/>
                <a:gd name="connsiteX40" fmla="*/ 61980 w 251479"/>
                <a:gd name="connsiteY40" fmla="*/ 173252 h 271988"/>
                <a:gd name="connsiteX41" fmla="*/ 61980 w 251479"/>
                <a:gd name="connsiteY41" fmla="*/ 98676 h 271988"/>
                <a:gd name="connsiteX42" fmla="*/ 62585 w 251479"/>
                <a:gd name="connsiteY42" fmla="*/ 22890 h 271988"/>
                <a:gd name="connsiteX43" fmla="*/ 64402 w 251479"/>
                <a:gd name="connsiteY43" fmla="*/ 16865 h 271988"/>
                <a:gd name="connsiteX44" fmla="*/ 72819 w 251479"/>
                <a:gd name="connsiteY44" fmla="*/ 13867 h 271988"/>
                <a:gd name="connsiteX45" fmla="*/ 89654 w 251479"/>
                <a:gd name="connsiteY45" fmla="*/ 12656 h 271988"/>
                <a:gd name="connsiteX46" fmla="*/ 115512 w 251479"/>
                <a:gd name="connsiteY46" fmla="*/ 13262 h 271988"/>
                <a:gd name="connsiteX47" fmla="*/ 138372 w 251479"/>
                <a:gd name="connsiteY47" fmla="*/ 18076 h 271988"/>
                <a:gd name="connsiteX48" fmla="*/ 160051 w 251479"/>
                <a:gd name="connsiteY48" fmla="*/ 27705 h 271988"/>
                <a:gd name="connsiteX49" fmla="*/ 220789 w 251479"/>
                <a:gd name="connsiteY49" fmla="*/ 137796 h 271988"/>
                <a:gd name="connsiteX50" fmla="*/ 172071 w 251479"/>
                <a:gd name="connsiteY50" fmla="*/ 243648 h 271988"/>
                <a:gd name="connsiteX51" fmla="*/ 116723 w 251479"/>
                <a:gd name="connsiteY51" fmla="*/ 259272 h 271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51479" h="271988">
                  <a:moveTo>
                    <a:pt x="108305" y="271898"/>
                  </a:moveTo>
                  <a:cubicBezTo>
                    <a:pt x="152209" y="271898"/>
                    <a:pt x="184092" y="262269"/>
                    <a:pt x="215975" y="229781"/>
                  </a:cubicBezTo>
                  <a:cubicBezTo>
                    <a:pt x="219578" y="226178"/>
                    <a:pt x="223181" y="221364"/>
                    <a:pt x="226209" y="215944"/>
                  </a:cubicBezTo>
                  <a:cubicBezTo>
                    <a:pt x="226209" y="215944"/>
                    <a:pt x="235837" y="200896"/>
                    <a:pt x="239440" y="191873"/>
                  </a:cubicBezTo>
                  <a:cubicBezTo>
                    <a:pt x="272535" y="107669"/>
                    <a:pt x="227995" y="49323"/>
                    <a:pt x="217791" y="39089"/>
                  </a:cubicBezTo>
                  <a:cubicBezTo>
                    <a:pt x="182911" y="5390"/>
                    <a:pt x="145003" y="1786"/>
                    <a:pt x="108305" y="606"/>
                  </a:cubicBezTo>
                  <a:cubicBezTo>
                    <a:pt x="106489" y="606"/>
                    <a:pt x="0" y="0"/>
                    <a:pt x="0" y="0"/>
                  </a:cubicBezTo>
                  <a:lnTo>
                    <a:pt x="0" y="3603"/>
                  </a:lnTo>
                  <a:cubicBezTo>
                    <a:pt x="0" y="3603"/>
                    <a:pt x="1211" y="5420"/>
                    <a:pt x="2422" y="5420"/>
                  </a:cubicBezTo>
                  <a:cubicBezTo>
                    <a:pt x="3633" y="5420"/>
                    <a:pt x="4814" y="5420"/>
                    <a:pt x="7236" y="6025"/>
                  </a:cubicBezTo>
                  <a:lnTo>
                    <a:pt x="7812" y="6025"/>
                  </a:lnTo>
                  <a:cubicBezTo>
                    <a:pt x="12020" y="6025"/>
                    <a:pt x="16229" y="6025"/>
                    <a:pt x="18046" y="6631"/>
                  </a:cubicBezTo>
                  <a:cubicBezTo>
                    <a:pt x="19257" y="7236"/>
                    <a:pt x="20438" y="7236"/>
                    <a:pt x="21043" y="7842"/>
                  </a:cubicBezTo>
                  <a:lnTo>
                    <a:pt x="22255" y="7842"/>
                  </a:lnTo>
                  <a:cubicBezTo>
                    <a:pt x="23435" y="8448"/>
                    <a:pt x="24041" y="8448"/>
                    <a:pt x="25252" y="9053"/>
                  </a:cubicBezTo>
                  <a:cubicBezTo>
                    <a:pt x="26463" y="9659"/>
                    <a:pt x="27038" y="10264"/>
                    <a:pt x="27644" y="10870"/>
                  </a:cubicBezTo>
                  <a:cubicBezTo>
                    <a:pt x="28250" y="11475"/>
                    <a:pt x="28855" y="12081"/>
                    <a:pt x="29461" y="12687"/>
                  </a:cubicBezTo>
                  <a:lnTo>
                    <a:pt x="30066" y="13292"/>
                  </a:lnTo>
                  <a:lnTo>
                    <a:pt x="30066" y="14503"/>
                  </a:lnTo>
                  <a:cubicBezTo>
                    <a:pt x="32458" y="17501"/>
                    <a:pt x="33064" y="21740"/>
                    <a:pt x="33064" y="27129"/>
                  </a:cubicBezTo>
                  <a:cubicBezTo>
                    <a:pt x="33669" y="38574"/>
                    <a:pt x="33669" y="48778"/>
                    <a:pt x="33669" y="104732"/>
                  </a:cubicBezTo>
                  <a:lnTo>
                    <a:pt x="33669" y="167892"/>
                  </a:lnTo>
                  <a:cubicBezTo>
                    <a:pt x="33669" y="223241"/>
                    <a:pt x="33669" y="233445"/>
                    <a:pt x="33064" y="244890"/>
                  </a:cubicBezTo>
                  <a:cubicBezTo>
                    <a:pt x="33064" y="250915"/>
                    <a:pt x="32458" y="255124"/>
                    <a:pt x="30066" y="258121"/>
                  </a:cubicBezTo>
                  <a:lnTo>
                    <a:pt x="30066" y="258727"/>
                  </a:lnTo>
                  <a:cubicBezTo>
                    <a:pt x="30066" y="259332"/>
                    <a:pt x="29461" y="259332"/>
                    <a:pt x="29461" y="259332"/>
                  </a:cubicBezTo>
                  <a:cubicBezTo>
                    <a:pt x="28855" y="259938"/>
                    <a:pt x="28250" y="260543"/>
                    <a:pt x="27644" y="261149"/>
                  </a:cubicBezTo>
                  <a:cubicBezTo>
                    <a:pt x="27038" y="261755"/>
                    <a:pt x="26433" y="262360"/>
                    <a:pt x="25252" y="262935"/>
                  </a:cubicBezTo>
                  <a:cubicBezTo>
                    <a:pt x="24041" y="263541"/>
                    <a:pt x="23435" y="264147"/>
                    <a:pt x="22255" y="264752"/>
                  </a:cubicBezTo>
                  <a:lnTo>
                    <a:pt x="21043" y="264752"/>
                  </a:lnTo>
                  <a:cubicBezTo>
                    <a:pt x="20438" y="265358"/>
                    <a:pt x="19257" y="265358"/>
                    <a:pt x="18046" y="265358"/>
                  </a:cubicBezTo>
                  <a:cubicBezTo>
                    <a:pt x="16229" y="265963"/>
                    <a:pt x="12020" y="266569"/>
                    <a:pt x="7812" y="266569"/>
                  </a:cubicBezTo>
                  <a:lnTo>
                    <a:pt x="2998" y="266569"/>
                  </a:lnTo>
                  <a:cubicBezTo>
                    <a:pt x="1786" y="266569"/>
                    <a:pt x="1211" y="268991"/>
                    <a:pt x="1211" y="268991"/>
                  </a:cubicBezTo>
                  <a:lnTo>
                    <a:pt x="1211" y="271989"/>
                  </a:lnTo>
                  <a:lnTo>
                    <a:pt x="108275" y="271989"/>
                  </a:lnTo>
                  <a:close/>
                  <a:moveTo>
                    <a:pt x="116723" y="259272"/>
                  </a:moveTo>
                  <a:cubicBezTo>
                    <a:pt x="100494" y="260483"/>
                    <a:pt x="77633" y="258666"/>
                    <a:pt x="72819" y="258061"/>
                  </a:cubicBezTo>
                  <a:lnTo>
                    <a:pt x="64402" y="255669"/>
                  </a:lnTo>
                  <a:cubicBezTo>
                    <a:pt x="63191" y="253852"/>
                    <a:pt x="62585" y="252671"/>
                    <a:pt x="62585" y="249643"/>
                  </a:cubicBezTo>
                  <a:cubicBezTo>
                    <a:pt x="61980" y="237623"/>
                    <a:pt x="61980" y="200926"/>
                    <a:pt x="61980" y="173252"/>
                  </a:cubicBezTo>
                  <a:lnTo>
                    <a:pt x="61980" y="98676"/>
                  </a:lnTo>
                  <a:cubicBezTo>
                    <a:pt x="61980" y="71608"/>
                    <a:pt x="61980" y="34911"/>
                    <a:pt x="62585" y="22890"/>
                  </a:cubicBezTo>
                  <a:cubicBezTo>
                    <a:pt x="62585" y="19893"/>
                    <a:pt x="63191" y="18076"/>
                    <a:pt x="64402" y="16865"/>
                  </a:cubicBezTo>
                  <a:lnTo>
                    <a:pt x="72819" y="13867"/>
                  </a:lnTo>
                  <a:cubicBezTo>
                    <a:pt x="77633" y="13262"/>
                    <a:pt x="89048" y="12656"/>
                    <a:pt x="89654" y="12656"/>
                  </a:cubicBezTo>
                  <a:cubicBezTo>
                    <a:pt x="98677" y="12051"/>
                    <a:pt x="105277" y="12051"/>
                    <a:pt x="115512" y="13262"/>
                  </a:cubicBezTo>
                  <a:cubicBezTo>
                    <a:pt x="129349" y="15079"/>
                    <a:pt x="138372" y="18076"/>
                    <a:pt x="138372" y="18076"/>
                  </a:cubicBezTo>
                  <a:cubicBezTo>
                    <a:pt x="148000" y="21074"/>
                    <a:pt x="152209" y="22890"/>
                    <a:pt x="160051" y="27705"/>
                  </a:cubicBezTo>
                  <a:cubicBezTo>
                    <a:pt x="196748" y="48748"/>
                    <a:pt x="220789" y="81236"/>
                    <a:pt x="220789" y="137796"/>
                  </a:cubicBezTo>
                  <a:cubicBezTo>
                    <a:pt x="221395" y="186513"/>
                    <a:pt x="206346" y="223816"/>
                    <a:pt x="172071" y="243648"/>
                  </a:cubicBezTo>
                  <a:cubicBezTo>
                    <a:pt x="155842" y="253277"/>
                    <a:pt x="141399" y="258091"/>
                    <a:pt x="116723" y="259272"/>
                  </a:cubicBezTo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2" pos="336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to-a-Page – White on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9721273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4" y="2402227"/>
            <a:ext cx="4617720" cy="4050962"/>
          </a:xfrm>
        </p:spPr>
        <p:txBody>
          <a:bodyPr lIns="73152" rIns="73152">
            <a:noAutofit/>
          </a:bodyPr>
          <a:lstStyle>
            <a:lvl1pPr>
              <a:lnSpc>
                <a:spcPct val="100000"/>
              </a:lnSpc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defRPr sz="1000"/>
            </a:lvl3pPr>
            <a:lvl4pPr marL="548640" indent="-182880">
              <a:lnSpc>
                <a:spcPct val="100000"/>
              </a:lnSpc>
              <a:defRPr sz="1000"/>
            </a:lvl4pPr>
            <a:lvl5pPr marL="731520" indent="-182880">
              <a:lnSpc>
                <a:spcPct val="100000"/>
              </a:lnSpc>
              <a:defRPr sz="1000"/>
            </a:lvl5pPr>
            <a:lvl6pPr marL="0" indent="0">
              <a:lnSpc>
                <a:spcPct val="100000"/>
              </a:lnSpc>
              <a:defRPr sz="1000"/>
            </a:lvl6pPr>
            <a:lvl7pPr>
              <a:lnSpc>
                <a:spcPct val="100000"/>
              </a:lnSpc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4" y="2159084"/>
            <a:ext cx="4617720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>
              <a:defRPr kumimoji="0" lang="en-US" sz="1100" u="none" strike="noStrike" cap="none" normalizeH="0" dirty="0">
                <a:ln>
                  <a:noFill/>
                </a:ln>
                <a:solidFill>
                  <a:srgbClr val="23283C"/>
                </a:solidFill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850B2328-39CD-474A-A7D3-4B97E34DDBC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8A2CBB-F46C-4F25-BE71-502B32F3117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6EACE38A-1B25-2F07-DF6A-8DC0C2075D4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589617" y="2402227"/>
            <a:ext cx="4617720" cy="4050962"/>
          </a:xfrm>
        </p:spPr>
        <p:txBody>
          <a:bodyPr lIns="73152" rIns="73152">
            <a:noAutofit/>
          </a:bodyPr>
          <a:lstStyle>
            <a:lvl1pPr>
              <a:lnSpc>
                <a:spcPct val="100000"/>
              </a:lnSpc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defRPr sz="1000"/>
            </a:lvl3pPr>
            <a:lvl4pPr marL="548640" indent="-182880">
              <a:lnSpc>
                <a:spcPct val="100000"/>
              </a:lnSpc>
              <a:defRPr sz="1000"/>
            </a:lvl4pPr>
            <a:lvl5pPr marL="731520" indent="-182880">
              <a:lnSpc>
                <a:spcPct val="100000"/>
              </a:lnSpc>
              <a:defRPr sz="1000"/>
            </a:lvl5pPr>
            <a:lvl6pPr marL="0" indent="0">
              <a:lnSpc>
                <a:spcPct val="100000"/>
              </a:lnSpc>
              <a:defRPr sz="1000"/>
            </a:lvl6pPr>
            <a:lvl7pPr>
              <a:lnSpc>
                <a:spcPct val="100000"/>
              </a:lnSpc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9ADF69F-02EE-10F0-6E07-52D3BEF1525D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5589617" y="2159084"/>
            <a:ext cx="4617720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>
              <a:spcBef>
                <a:spcPts val="200"/>
              </a:spcBef>
              <a:tabLst>
                <a:tab pos="4197096" algn="r"/>
                <a:tab pos="4617720" algn="r"/>
              </a:tabLst>
              <a:defRPr kumimoji="0" lang="en-US" sz="1100" b="0" u="none" strike="noStrike" cap="none" normalizeH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4565542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to-a-Page – Un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9721273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5" y="2401934"/>
            <a:ext cx="4618448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noProof="0"/>
              <a:t>Use Alt + Shift + Right or Left Arrow to adjust your text level</a:t>
            </a:r>
          </a:p>
          <a:p>
            <a:pPr lvl="1"/>
            <a:r>
              <a:rPr lang="en-US" noProof="0"/>
              <a:t>Bullet 1</a:t>
            </a:r>
          </a:p>
          <a:p>
            <a:pPr lvl="2"/>
            <a:r>
              <a:rPr lang="en-US" noProof="0"/>
              <a:t>Bullet 2</a:t>
            </a:r>
          </a:p>
          <a:p>
            <a:pPr lvl="3"/>
            <a:r>
              <a:rPr lang="en-US" noProof="0"/>
              <a:t>Bullet 3</a:t>
            </a:r>
          </a:p>
          <a:p>
            <a:pPr lvl="4"/>
            <a:r>
              <a:rPr lang="en-US" noProof="0"/>
              <a:t>Bullet 4</a:t>
            </a:r>
          </a:p>
          <a:p>
            <a:pPr lvl="5"/>
            <a:r>
              <a:rPr lang="en-US" noProof="0"/>
              <a:t>Normal Text</a:t>
            </a:r>
          </a:p>
          <a:p>
            <a:pPr lvl="6"/>
            <a:r>
              <a:rPr lang="en-US" noProof="0"/>
              <a:t>Tiny Bullet 1</a:t>
            </a:r>
          </a:p>
          <a:p>
            <a:pPr lvl="7"/>
            <a:r>
              <a:rPr lang="en-US" noProof="0"/>
              <a:t>Tiny Bullet 2</a:t>
            </a:r>
          </a:p>
          <a:p>
            <a:pPr lvl="8"/>
            <a:r>
              <a:rPr lang="en-US" noProof="0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588889" y="2401934"/>
            <a:ext cx="4618448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noProof="0"/>
              <a:t>Use Alt + Shift + Right or Left Arrow to adjust your text level</a:t>
            </a:r>
          </a:p>
          <a:p>
            <a:pPr lvl="1"/>
            <a:r>
              <a:rPr lang="en-US" noProof="0"/>
              <a:t>Bullet 1</a:t>
            </a:r>
          </a:p>
          <a:p>
            <a:pPr lvl="2"/>
            <a:r>
              <a:rPr lang="en-US" noProof="0"/>
              <a:t>Bullet 2</a:t>
            </a:r>
          </a:p>
          <a:p>
            <a:pPr lvl="3"/>
            <a:r>
              <a:rPr lang="en-US" noProof="0"/>
              <a:t>Bullet 3</a:t>
            </a:r>
          </a:p>
          <a:p>
            <a:pPr lvl="4"/>
            <a:r>
              <a:rPr lang="en-US" noProof="0"/>
              <a:t>Bullet 4</a:t>
            </a:r>
          </a:p>
          <a:p>
            <a:pPr lvl="5"/>
            <a:r>
              <a:rPr lang="en-US" noProof="0"/>
              <a:t>Normal Text</a:t>
            </a:r>
          </a:p>
          <a:p>
            <a:pPr lvl="6"/>
            <a:r>
              <a:rPr lang="en-US" noProof="0"/>
              <a:t>Tiny Bullet 1</a:t>
            </a:r>
          </a:p>
          <a:p>
            <a:pPr lvl="7"/>
            <a:r>
              <a:rPr lang="en-US" noProof="0"/>
              <a:t>Tiny Bullet 2</a:t>
            </a:r>
          </a:p>
          <a:p>
            <a:pPr lvl="8"/>
            <a:r>
              <a:rPr lang="en-US" noProof="0"/>
              <a:t>Tiny Bullet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5" y="2174472"/>
            <a:ext cx="4618448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197096" algn="r"/>
                <a:tab pos="4617720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 noProof="0"/>
              <a:t>Heading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588889" y="2174472"/>
            <a:ext cx="4618448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197096" algn="r"/>
                <a:tab pos="4617720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 noProof="0"/>
              <a:t>Heading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86064" y="4649294"/>
            <a:ext cx="9721273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noProof="0"/>
              <a:t>Use Alt + Shift + Right or Left Arrow to adjust your text level</a:t>
            </a:r>
          </a:p>
          <a:p>
            <a:pPr lvl="1"/>
            <a:r>
              <a:rPr lang="en-US" noProof="0"/>
              <a:t>Bullet 1</a:t>
            </a:r>
          </a:p>
          <a:p>
            <a:pPr lvl="2"/>
            <a:r>
              <a:rPr lang="en-US" noProof="0"/>
              <a:t>Bullet 2</a:t>
            </a:r>
          </a:p>
          <a:p>
            <a:pPr lvl="3"/>
            <a:r>
              <a:rPr lang="en-US" noProof="0"/>
              <a:t>Bullet 3</a:t>
            </a:r>
          </a:p>
          <a:p>
            <a:pPr lvl="4"/>
            <a:r>
              <a:rPr lang="en-US" noProof="0"/>
              <a:t>Bullet 4</a:t>
            </a:r>
          </a:p>
          <a:p>
            <a:pPr lvl="5"/>
            <a:r>
              <a:rPr lang="en-US" noProof="0"/>
              <a:t>Normal Text</a:t>
            </a:r>
          </a:p>
          <a:p>
            <a:pPr lvl="6"/>
            <a:r>
              <a:rPr lang="en-US" noProof="0"/>
              <a:t>Tiny Bullet 1</a:t>
            </a:r>
          </a:p>
          <a:p>
            <a:pPr lvl="7"/>
            <a:r>
              <a:rPr lang="en-US" noProof="0"/>
              <a:t>Tiny Bullet 2</a:t>
            </a:r>
          </a:p>
          <a:p>
            <a:pPr lvl="8"/>
            <a:r>
              <a:rPr lang="en-US" noProof="0"/>
              <a:t>Tiny Bullet 3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486064" y="4421539"/>
            <a:ext cx="9721273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200525" algn="r"/>
                <a:tab pos="9545638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 noProof="0"/>
              <a:t>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7A438A39-D036-4330-AE31-3843EC27E8C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 noProof="0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D8731A-34E9-4C9C-ACB6-727F20D9B53E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56E40FF2-FFFD-41B2-ABEF-2650AB17DAE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352336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to-a-Page – White on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9721273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5" y="2401934"/>
            <a:ext cx="4616761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588889" y="2401934"/>
            <a:ext cx="4618448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4" y="2159084"/>
            <a:ext cx="4616761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>
              <a:defRPr kumimoji="0" lang="en-US" sz="1100" u="none" strike="noStrike" cap="none" normalizeH="0" dirty="0">
                <a:ln>
                  <a:noFill/>
                </a:ln>
                <a:solidFill>
                  <a:srgbClr val="23283C"/>
                </a:solidFill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588889" y="2159084"/>
            <a:ext cx="4618448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 algn="l">
              <a:spcBef>
                <a:spcPts val="200"/>
              </a:spcBef>
              <a:tabLst>
                <a:tab pos="4197096" algn="r"/>
                <a:tab pos="4617720" algn="r"/>
              </a:tabLst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588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buNone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86064" y="4649294"/>
            <a:ext cx="9721273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486064" y="4406151"/>
            <a:ext cx="9721273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>
              <a:defRPr kumimoji="0" lang="en-US" sz="1100" u="none" strike="noStrike" cap="none" normalizeH="0" dirty="0">
                <a:ln>
                  <a:noFill/>
                </a:ln>
                <a:solidFill>
                  <a:srgbClr val="23283C"/>
                </a:solidFill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6C3E659F-E196-4584-A8E2-CB0FD1344CB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4D7362-0C13-4B24-80F6-37E28E4AB2A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448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to-a-Page – Un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9721273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5" y="2401934"/>
            <a:ext cx="4618448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age Heading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588889" y="2401934"/>
            <a:ext cx="4618448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5" y="2174472"/>
            <a:ext cx="4618448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588889" y="2174472"/>
            <a:ext cx="4618448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197096" algn="r"/>
                <a:tab pos="4617720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86064" y="4649294"/>
            <a:ext cx="4618448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486065" y="4421539"/>
            <a:ext cx="4618448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5588889" y="4649294"/>
            <a:ext cx="4618448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588889" y="4421539"/>
            <a:ext cx="4618448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197096" algn="r"/>
                <a:tab pos="4617720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1DE9756A-BA34-4F19-976F-5B831E0283A5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183B25-E72A-4C7D-9877-B3F9306DA96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0076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to-a-Page – White on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9721273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5" y="2401934"/>
            <a:ext cx="4616761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age Heading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588889" y="2401934"/>
            <a:ext cx="4618448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4" y="2159084"/>
            <a:ext cx="4616761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>
              <a:defRPr kumimoji="0" lang="en-US" sz="1100" u="none" strike="noStrike" cap="none" normalizeH="0" dirty="0">
                <a:ln>
                  <a:noFill/>
                </a:ln>
                <a:solidFill>
                  <a:srgbClr val="23283C"/>
                </a:solidFill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588889" y="2159084"/>
            <a:ext cx="4618448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 algn="l">
              <a:spcBef>
                <a:spcPts val="200"/>
              </a:spcBef>
              <a:tabLst>
                <a:tab pos="4197096" algn="r"/>
                <a:tab pos="4617720" algn="r"/>
              </a:tabLst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588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buNone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86064" y="4649294"/>
            <a:ext cx="4616761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486064" y="4406151"/>
            <a:ext cx="4616761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 algn="l">
              <a:spcBef>
                <a:spcPts val="200"/>
              </a:spcBef>
              <a:tabLst>
                <a:tab pos="4197096" algn="r"/>
                <a:tab pos="4617720" algn="r"/>
              </a:tabLst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588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buNone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5590576" y="4649294"/>
            <a:ext cx="4616761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590576" y="4406151"/>
            <a:ext cx="4616761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 algn="l">
              <a:spcBef>
                <a:spcPts val="200"/>
              </a:spcBef>
              <a:tabLst>
                <a:tab pos="4197096" algn="r"/>
                <a:tab pos="4617720" algn="r"/>
              </a:tabLst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588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buNone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D674DBEF-FBD0-4910-B1B0-C58A2A9A27F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9B15A8-92A2-4D0B-94D4-A7106693DFB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8513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to-a-Page – Un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9721273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5" y="2401934"/>
            <a:ext cx="2916382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4" y="2174472"/>
            <a:ext cx="2916382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2743200" algn="r"/>
                <a:tab pos="4200525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26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3888509" y="2401934"/>
            <a:ext cx="2916382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888509" y="2174472"/>
            <a:ext cx="2916382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2743200" algn="r"/>
                <a:tab pos="4200525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7290955" y="2401934"/>
            <a:ext cx="2916382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7290955" y="2174472"/>
            <a:ext cx="2916382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2743200" algn="r"/>
                <a:tab pos="4200525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486064" y="4649294"/>
            <a:ext cx="2916382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486064" y="4421539"/>
            <a:ext cx="2916382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2743200" algn="r"/>
                <a:tab pos="4200525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3888509" y="4649294"/>
            <a:ext cx="2916382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3888509" y="4421539"/>
            <a:ext cx="2916382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2743200" algn="r"/>
                <a:tab pos="4200525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7290955" y="4649294"/>
            <a:ext cx="2916382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7290955" y="4421539"/>
            <a:ext cx="2916382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2743200" algn="r"/>
                <a:tab pos="4200525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97D02396-5EDA-4218-A932-A842886B9AB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C747FC-F87B-4429-BA41-1335A3FFF74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4118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to-a-Page – White on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9721273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5" y="2401934"/>
            <a:ext cx="2916382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4" y="2159084"/>
            <a:ext cx="2916382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 algn="l">
              <a:spcBef>
                <a:spcPts val="200"/>
              </a:spcBef>
              <a:tabLst>
                <a:tab pos="2743200" algn="r"/>
                <a:tab pos="4200525" algn="r"/>
              </a:tabLst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588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buNone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26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3888509" y="2401934"/>
            <a:ext cx="2916382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888509" y="2159084"/>
            <a:ext cx="2916382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 algn="l">
              <a:spcBef>
                <a:spcPts val="200"/>
              </a:spcBef>
              <a:tabLst>
                <a:tab pos="2743200" algn="r"/>
                <a:tab pos="4200525" algn="r"/>
              </a:tabLst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588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buNone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7290955" y="2401934"/>
            <a:ext cx="2916382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7290955" y="2159084"/>
            <a:ext cx="2916382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 algn="l">
              <a:spcBef>
                <a:spcPts val="200"/>
              </a:spcBef>
              <a:tabLst>
                <a:tab pos="2743200" algn="r"/>
                <a:tab pos="4200525" algn="r"/>
              </a:tabLst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588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buNone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486064" y="4649294"/>
            <a:ext cx="2916382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486064" y="4406151"/>
            <a:ext cx="2916382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 algn="l">
              <a:spcBef>
                <a:spcPts val="200"/>
              </a:spcBef>
              <a:tabLst>
                <a:tab pos="2743200" algn="r"/>
                <a:tab pos="4200525" algn="r"/>
              </a:tabLst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588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buNone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3888509" y="4649294"/>
            <a:ext cx="2916382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3888509" y="4406151"/>
            <a:ext cx="2916382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 algn="l">
              <a:spcBef>
                <a:spcPts val="200"/>
              </a:spcBef>
              <a:tabLst>
                <a:tab pos="2743200" algn="r"/>
                <a:tab pos="4200525" algn="r"/>
              </a:tabLst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588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buNone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7290955" y="4649294"/>
            <a:ext cx="2916382" cy="1920240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7290955" y="4406151"/>
            <a:ext cx="2916382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 algn="l">
              <a:spcBef>
                <a:spcPts val="200"/>
              </a:spcBef>
              <a:tabLst>
                <a:tab pos="2743200" algn="r"/>
                <a:tab pos="4200525" algn="r"/>
              </a:tabLst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588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buNone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33F9D248-6EBC-457C-87D9-777F94DAD210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86D40B-0DB0-4C7E-83F5-B1B0DCF5FDC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176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A – Un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5103668" y="3616296"/>
            <a:ext cx="3208020" cy="1597311"/>
          </a:xfrm>
        </p:spPr>
        <p:txBody>
          <a:bodyPr lIns="73152" tIns="18288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9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9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9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9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9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9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7485380" y="3616296"/>
            <a:ext cx="3208020" cy="1597311"/>
          </a:xfrm>
        </p:spPr>
        <p:txBody>
          <a:bodyPr lIns="73152" tIns="18288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9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9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9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9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9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9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9721273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3" y="2180723"/>
            <a:ext cx="4617605" cy="1156428"/>
          </a:xfrm>
        </p:spPr>
        <p:txBody>
          <a:bodyPr lIns="73152" tIns="18288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9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9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9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9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9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9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3" y="1968211"/>
            <a:ext cx="4617605" cy="212366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197096" algn="r"/>
                <a:tab pos="4617720" algn="r"/>
              </a:tabLst>
              <a:defRPr kumimoji="0" lang="en-US" sz="10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26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589732" y="2180723"/>
            <a:ext cx="4617605" cy="1156428"/>
          </a:xfrm>
        </p:spPr>
        <p:txBody>
          <a:bodyPr lIns="73152" tIns="18288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9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9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9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9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9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9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589732" y="1968211"/>
            <a:ext cx="4617605" cy="212366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197096" algn="r"/>
                <a:tab pos="4617720" algn="r"/>
              </a:tabLst>
              <a:defRPr kumimoji="0" lang="en-US" sz="10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486063" y="4990362"/>
            <a:ext cx="4617605" cy="1882970"/>
          </a:xfrm>
        </p:spPr>
        <p:txBody>
          <a:bodyPr lIns="73152" tIns="18288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9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9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9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9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9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9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486063" y="4777996"/>
            <a:ext cx="4617605" cy="212366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197096" algn="r"/>
                <a:tab pos="4617720" algn="r"/>
              </a:tabLst>
              <a:defRPr kumimoji="0" lang="en-US" sz="10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35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486063" y="3616296"/>
            <a:ext cx="4617605" cy="1111950"/>
          </a:xfrm>
        </p:spPr>
        <p:txBody>
          <a:bodyPr lIns="73152" tIns="18288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9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9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9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9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9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9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486063" y="3403930"/>
            <a:ext cx="4617605" cy="212366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197096" algn="r"/>
                <a:tab pos="4617720" algn="r"/>
              </a:tabLst>
              <a:defRPr kumimoji="0" lang="en-US" sz="10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589732" y="3403930"/>
            <a:ext cx="2216450" cy="212366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197096" algn="r"/>
                <a:tab pos="4617720" algn="r"/>
              </a:tabLst>
              <a:defRPr kumimoji="0" lang="en-US" sz="10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idx="35" hasCustomPrompt="1"/>
          </p:nvPr>
        </p:nvSpPr>
        <p:spPr>
          <a:xfrm>
            <a:off x="7990886" y="3403930"/>
            <a:ext cx="2216450" cy="212366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197096" algn="r"/>
                <a:tab pos="4617720" algn="r"/>
              </a:tabLst>
              <a:defRPr kumimoji="0" lang="en-US" sz="10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550F0D2D-53DF-43D6-8DDE-6C51D72FFC72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11F008-221E-4FB7-A154-A76AAD6664B1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0555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A – White on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5103668" y="3616296"/>
            <a:ext cx="3208020" cy="1597311"/>
          </a:xfrm>
        </p:spPr>
        <p:txBody>
          <a:bodyPr lIns="73152" tIns="18288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9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9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9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9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9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9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7485380" y="3616296"/>
            <a:ext cx="3208020" cy="1597311"/>
          </a:xfrm>
        </p:spPr>
        <p:txBody>
          <a:bodyPr lIns="73152" tIns="18288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9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9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9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9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9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9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9721273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3" y="2180723"/>
            <a:ext cx="4617605" cy="1156428"/>
          </a:xfrm>
        </p:spPr>
        <p:txBody>
          <a:bodyPr lIns="73152" tIns="18288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9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9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9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9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9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9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 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3" y="1952822"/>
            <a:ext cx="4617605" cy="227755"/>
          </a:xfrm>
          <a:solidFill>
            <a:schemeClr val="accent4">
              <a:lumMod val="40000"/>
              <a:lumOff val="60000"/>
            </a:schemeClr>
          </a:solidFill>
          <a:effectLst/>
        </p:spPr>
        <p:txBody>
          <a:bodyPr vert="horz" wrap="square" lIns="73152" tIns="36576" rIns="73152" bIns="36576" rtlCol="0" anchor="b">
            <a:spAutoFit/>
          </a:bodyPr>
          <a:lstStyle>
            <a:lvl1pPr>
              <a:spcBef>
                <a:spcPts val="100"/>
              </a:spcBef>
              <a:tabLst>
                <a:tab pos="4197096" algn="r"/>
                <a:tab pos="4617720" algn="r"/>
              </a:tabLst>
              <a:defRPr kumimoji="0" lang="en-US" sz="1000" b="0" u="none" strike="noStrike" cap="none" normalizeH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26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589732" y="2180723"/>
            <a:ext cx="4617605" cy="1156428"/>
          </a:xfrm>
        </p:spPr>
        <p:txBody>
          <a:bodyPr lIns="73152" tIns="18288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9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9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9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9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9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9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able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589732" y="1952822"/>
            <a:ext cx="4617605" cy="227755"/>
          </a:xfrm>
          <a:solidFill>
            <a:schemeClr val="accent4">
              <a:lumMod val="40000"/>
              <a:lumOff val="60000"/>
            </a:schemeClr>
          </a:solidFill>
          <a:effectLst/>
        </p:spPr>
        <p:txBody>
          <a:bodyPr vert="horz" wrap="square" lIns="73152" tIns="36576" rIns="73152" bIns="36576" rtlCol="0" anchor="b">
            <a:spAutoFit/>
          </a:bodyPr>
          <a:lstStyle>
            <a:lvl1pPr>
              <a:spcBef>
                <a:spcPts val="100"/>
              </a:spcBef>
              <a:tabLst>
                <a:tab pos="4197096" algn="r"/>
                <a:tab pos="4617720" algn="r"/>
              </a:tabLst>
              <a:defRPr kumimoji="0" lang="en-US" sz="1000" b="0" u="none" strike="noStrike" cap="none" normalizeH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486063" y="4990362"/>
            <a:ext cx="4617605" cy="1882970"/>
          </a:xfrm>
        </p:spPr>
        <p:txBody>
          <a:bodyPr lIns="73152" tIns="18288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9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9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9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9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9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9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486063" y="4762607"/>
            <a:ext cx="4617605" cy="227755"/>
          </a:xfrm>
          <a:solidFill>
            <a:schemeClr val="accent4">
              <a:lumMod val="40000"/>
              <a:lumOff val="60000"/>
            </a:schemeClr>
          </a:solidFill>
          <a:effectLst/>
        </p:spPr>
        <p:txBody>
          <a:bodyPr vert="horz" wrap="square" lIns="73152" tIns="36576" rIns="73152" bIns="36576" rtlCol="0" anchor="b">
            <a:spAutoFit/>
          </a:bodyPr>
          <a:lstStyle>
            <a:lvl1pPr>
              <a:spcBef>
                <a:spcPts val="100"/>
              </a:spcBef>
              <a:tabLst>
                <a:tab pos="4197096" algn="r"/>
                <a:tab pos="4617720" algn="r"/>
              </a:tabLst>
              <a:defRPr kumimoji="0" lang="en-US" sz="1000" b="0" u="none" strike="noStrike" cap="none" normalizeH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35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486063" y="3616296"/>
            <a:ext cx="4617605" cy="1111950"/>
          </a:xfrm>
        </p:spPr>
        <p:txBody>
          <a:bodyPr lIns="73152" tIns="18288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9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9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9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9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9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900"/>
            </a:lvl6pPr>
            <a:lvl7pPr>
              <a:lnSpc>
                <a:spcPct val="100000"/>
              </a:lnSpc>
              <a:spcBef>
                <a:spcPts val="100"/>
              </a:spcBef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486063" y="3388541"/>
            <a:ext cx="4617605" cy="227755"/>
          </a:xfrm>
          <a:solidFill>
            <a:schemeClr val="accent4">
              <a:lumMod val="40000"/>
              <a:lumOff val="60000"/>
            </a:schemeClr>
          </a:solidFill>
          <a:effectLst/>
        </p:spPr>
        <p:txBody>
          <a:bodyPr vert="horz" wrap="square" lIns="73152" tIns="36576" rIns="73152" bIns="36576" rtlCol="0" anchor="b">
            <a:spAutoFit/>
          </a:bodyPr>
          <a:lstStyle>
            <a:lvl1pPr>
              <a:spcBef>
                <a:spcPts val="100"/>
              </a:spcBef>
              <a:tabLst>
                <a:tab pos="4197096" algn="r"/>
                <a:tab pos="4617720" algn="r"/>
              </a:tabLst>
              <a:defRPr kumimoji="0" lang="en-US" sz="1000" b="0" u="none" strike="noStrike" cap="none" normalizeH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589732" y="3388541"/>
            <a:ext cx="2216450" cy="227755"/>
          </a:xfrm>
          <a:solidFill>
            <a:schemeClr val="accent4">
              <a:lumMod val="40000"/>
              <a:lumOff val="60000"/>
            </a:schemeClr>
          </a:solidFill>
          <a:effectLst/>
        </p:spPr>
        <p:txBody>
          <a:bodyPr vert="horz" wrap="square" lIns="73152" tIns="36576" rIns="73152" bIns="36576" rtlCol="0" anchor="b">
            <a:spAutoFit/>
          </a:bodyPr>
          <a:lstStyle>
            <a:lvl1pPr>
              <a:spcBef>
                <a:spcPts val="100"/>
              </a:spcBef>
              <a:tabLst>
                <a:tab pos="4197096" algn="r"/>
                <a:tab pos="4617720" algn="r"/>
              </a:tabLst>
              <a:defRPr kumimoji="0" lang="en-US" sz="1000" b="0" u="none" strike="noStrike" cap="none" normalizeH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idx="35" hasCustomPrompt="1"/>
          </p:nvPr>
        </p:nvSpPr>
        <p:spPr>
          <a:xfrm>
            <a:off x="7990886" y="3388541"/>
            <a:ext cx="2216450" cy="227755"/>
          </a:xfrm>
          <a:solidFill>
            <a:schemeClr val="accent4">
              <a:lumMod val="40000"/>
              <a:lumOff val="60000"/>
            </a:schemeClr>
          </a:solidFill>
          <a:effectLst/>
        </p:spPr>
        <p:txBody>
          <a:bodyPr vert="horz" wrap="square" lIns="73152" tIns="36576" rIns="73152" bIns="36576" rtlCol="0" anchor="b">
            <a:spAutoFit/>
          </a:bodyPr>
          <a:lstStyle>
            <a:lvl1pPr>
              <a:spcBef>
                <a:spcPts val="100"/>
              </a:spcBef>
              <a:tabLst>
                <a:tab pos="4197096" algn="r"/>
                <a:tab pos="4617720" algn="r"/>
              </a:tabLst>
              <a:defRPr kumimoji="0" lang="en-US" sz="1000" b="0" u="none" strike="noStrike" cap="none" normalizeH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D69B2D44-A078-4F15-A5E5-4298CBF42D26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DDF6AF-1D0C-4C38-A784-5D4B98992FC7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3536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ntary – Un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7207968" y="1143148"/>
            <a:ext cx="2999369" cy="558279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100">
              <a:solidFill>
                <a:schemeClr val="tx2"/>
              </a:solidFill>
              <a:latin typeface="Aptos Narrow" panose="020B0606020202030204" pitchFamily="34" charset="0"/>
            </a:endParaRP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6235840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5" y="2402227"/>
            <a:ext cx="6235839" cy="4014749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5" y="2174472"/>
            <a:ext cx="6235839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197096" algn="r"/>
                <a:tab pos="6236208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7299112" y="1204223"/>
            <a:ext cx="2817079" cy="243143"/>
          </a:xfrm>
          <a:noFill/>
          <a:effectLst/>
        </p:spPr>
        <p:txBody>
          <a:bodyPr vert="horz" wrap="square" lIns="73152" tIns="36576" rIns="73152" bIns="36576" rtlCol="0" anchor="t">
            <a:spAutoFit/>
          </a:bodyPr>
          <a:lstStyle>
            <a:lvl1pPr algn="l">
              <a:spcBef>
                <a:spcPts val="200"/>
              </a:spcBef>
              <a:tabLst>
                <a:tab pos="4343400" algn="r"/>
              </a:tabLst>
              <a:defRPr kumimoji="0" lang="en-US" sz="1100" b="0" u="none" strike="noStrike" cap="none" normalizeH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 noProof="0"/>
              <a:t>Heading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7299112" y="1437108"/>
            <a:ext cx="2817079" cy="975652"/>
          </a:xfrm>
        </p:spPr>
        <p:txBody>
          <a:bodyPr lIns="73152" tIns="36576" rIns="73152"/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solidFill>
                  <a:srgbClr val="23283C"/>
                </a:solidFill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Clr>
                <a:srgbClr val="23283C"/>
              </a:buClr>
              <a:buFont typeface="Symbol" panose="05050102010706020507" pitchFamily="18" charset="2"/>
              <a:buChar char=""/>
              <a:defRPr sz="1000">
                <a:solidFill>
                  <a:srgbClr val="23283C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100"/>
              </a:spcBef>
              <a:buClr>
                <a:srgbClr val="23283C"/>
              </a:buClr>
              <a:defRPr sz="1000">
                <a:solidFill>
                  <a:srgbClr val="23283C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100"/>
              </a:spcBef>
              <a:buClr>
                <a:srgbClr val="23283C"/>
              </a:buClr>
              <a:defRPr sz="1000">
                <a:solidFill>
                  <a:srgbClr val="23283C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100"/>
              </a:spcBef>
              <a:buClr>
                <a:srgbClr val="23283C"/>
              </a:buClr>
              <a:defRPr sz="1000">
                <a:solidFill>
                  <a:srgbClr val="23283C"/>
                </a:solidFill>
              </a:defRPr>
            </a:lvl5pPr>
            <a:lvl6pPr marL="0" indent="0">
              <a:lnSpc>
                <a:spcPct val="100000"/>
              </a:lnSpc>
              <a:spcBef>
                <a:spcPts val="100"/>
              </a:spcBef>
              <a:buClr>
                <a:srgbClr val="23283C"/>
              </a:buClr>
              <a:defRPr sz="1000">
                <a:solidFill>
                  <a:srgbClr val="23283C"/>
                </a:solidFill>
              </a:defRPr>
            </a:lvl6pPr>
            <a:lvl7pPr>
              <a:lnSpc>
                <a:spcPct val="100000"/>
              </a:lnSpc>
              <a:spcBef>
                <a:spcPts val="100"/>
              </a:spcBef>
              <a:defRPr sz="1000">
                <a:solidFill>
                  <a:srgbClr val="23283C"/>
                </a:solidFill>
              </a:defRPr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0F8A12C2-C07B-455A-932B-395EB77F56A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CD948D-1094-4F73-9AD2-709C0947A60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452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GB" noProof="0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9C8ED0E2-5387-4A03-8983-6A58DDB1944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 noProof="0"/>
              <a:t>Lazard RHQ Governance Framework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74D59F6-763A-42CD-BB25-DB0AF786CB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E40FF2-FFFD-41B2-ABEF-2650AB17DAE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9887394-9C0A-4878-9C17-B3258F87823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86064" y="1571557"/>
            <a:ext cx="9721273" cy="276999"/>
          </a:xfrm>
        </p:spPr>
        <p:txBody>
          <a:bodyPr>
            <a:noAutofit/>
          </a:bodyPr>
          <a:lstStyle>
            <a:lvl1pPr>
              <a:defRPr b="0"/>
            </a:lvl1pPr>
            <a:lvl2pPr>
              <a:defRPr/>
            </a:lvl2pPr>
            <a:lvl3pPr>
              <a:defRPr/>
            </a:lvl3pPr>
            <a:lvl4pPr>
              <a:buClr>
                <a:schemeClr val="tx1"/>
              </a:buClr>
              <a:defRPr/>
            </a:lvl4pPr>
            <a:lvl6pPr>
              <a:buClr>
                <a:schemeClr val="tx1"/>
              </a:buClr>
              <a:defRPr sz="11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r>
              <a:rPr lang="en-US" noProof="0"/>
              <a:t>Key Message [Use Alt + Shift + Right or Left Arrow to adjust your text level]</a:t>
            </a:r>
          </a:p>
          <a:p>
            <a:pPr lvl="1"/>
            <a:r>
              <a:rPr lang="en-US" noProof="0"/>
              <a:t>Bullet 1</a:t>
            </a:r>
          </a:p>
          <a:p>
            <a:pPr lvl="2"/>
            <a:r>
              <a:rPr lang="en-US" noProof="0"/>
              <a:t>Bullet 2</a:t>
            </a:r>
          </a:p>
          <a:p>
            <a:pPr lvl="3"/>
            <a:r>
              <a:rPr lang="en-US" noProof="0"/>
              <a:t>Bullet 3</a:t>
            </a:r>
          </a:p>
          <a:p>
            <a:pPr lvl="4"/>
            <a:r>
              <a:rPr lang="en-US" noProof="0"/>
              <a:t>Bullet 4</a:t>
            </a:r>
          </a:p>
          <a:p>
            <a:pPr lvl="5"/>
            <a:r>
              <a:rPr lang="en-US" noProof="0"/>
              <a:t>Normal Text</a:t>
            </a:r>
          </a:p>
          <a:p>
            <a:pPr lvl="6"/>
            <a:r>
              <a:rPr lang="en-US" noProof="0"/>
              <a:t>Tiny Bullet 1</a:t>
            </a:r>
          </a:p>
          <a:p>
            <a:pPr lvl="7"/>
            <a:r>
              <a:rPr lang="en-US" noProof="0"/>
              <a:t>Tiny Bullet 2</a:t>
            </a:r>
          </a:p>
          <a:p>
            <a:pPr lvl="8"/>
            <a:r>
              <a:rPr lang="en-US" noProof="0"/>
              <a:t>Tiny Bullet 3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ntary – White on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7207968" y="1143148"/>
            <a:ext cx="2999369" cy="558279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100">
              <a:solidFill>
                <a:schemeClr val="tx2"/>
              </a:solidFill>
              <a:latin typeface="Aptos Narrow" panose="020B0606020202030204" pitchFamily="34" charset="0"/>
            </a:endParaRP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6235840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5" y="2402227"/>
            <a:ext cx="6235839" cy="4014749"/>
          </a:xfrm>
        </p:spPr>
        <p:txBody>
          <a:bodyPr lIns="73152" tIns="36576" rIns="73152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spcBef>
                <a:spcPts val="100"/>
              </a:spcBef>
              <a:defRPr sz="1000"/>
            </a:lvl3pPr>
            <a:lvl4pPr marL="548640" indent="-182880">
              <a:lnSpc>
                <a:spcPct val="100000"/>
              </a:lnSpc>
              <a:spcBef>
                <a:spcPts val="100"/>
              </a:spcBef>
              <a:defRPr sz="1000"/>
            </a:lvl4pPr>
            <a:lvl5pPr marL="731520" indent="-182880">
              <a:lnSpc>
                <a:spcPct val="100000"/>
              </a:lnSpc>
              <a:spcBef>
                <a:spcPts val="100"/>
              </a:spcBef>
              <a:defRPr sz="1000"/>
            </a:lvl5pPr>
            <a:lvl6pPr marL="0" indent="0">
              <a:lnSpc>
                <a:spcPct val="100000"/>
              </a:lnSpc>
              <a:spcBef>
                <a:spcPts val="100"/>
              </a:spcBef>
              <a:defRPr sz="1000"/>
            </a:lvl6pPr>
            <a:lvl7pPr>
              <a:lnSpc>
                <a:spcPct val="100000"/>
              </a:lnSpc>
              <a:spcBef>
                <a:spcPts val="100"/>
              </a:spcBef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5" y="2159084"/>
            <a:ext cx="6235839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>
              <a:spcBef>
                <a:spcPts val="200"/>
              </a:spcBef>
              <a:tabLst>
                <a:tab pos="4197096" algn="r"/>
                <a:tab pos="6236208" algn="r"/>
              </a:tabLst>
              <a:defRPr kumimoji="0" lang="en-US" sz="1100" b="0" u="none" strike="noStrike" cap="none" normalizeH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7299112" y="1204223"/>
            <a:ext cx="2817079" cy="243143"/>
          </a:xfrm>
          <a:noFill/>
          <a:effectLst/>
        </p:spPr>
        <p:txBody>
          <a:bodyPr vert="horz" wrap="square" lIns="73152" tIns="36576" rIns="73152" bIns="36576" rtlCol="0" anchor="t">
            <a:spAutoFit/>
          </a:bodyPr>
          <a:lstStyle>
            <a:lvl1pPr algn="l">
              <a:spcBef>
                <a:spcPts val="200"/>
              </a:spcBef>
              <a:tabLst>
                <a:tab pos="4343400" algn="r"/>
              </a:tabLst>
              <a:defRPr kumimoji="0" lang="en-US" sz="1100" b="0" u="none" strike="noStrike" cap="none" normalizeH="0" dirty="0" smtClean="0">
                <a:ln>
                  <a:noFill/>
                </a:ln>
                <a:solidFill>
                  <a:srgbClr val="23283C"/>
                </a:solidFill>
                <a:effectLst/>
                <a:latin typeface="+mn-lt"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7299112" y="1437108"/>
            <a:ext cx="2817079" cy="975652"/>
          </a:xfrm>
        </p:spPr>
        <p:txBody>
          <a:bodyPr lIns="73152" tIns="36576" rIns="73152"/>
          <a:lstStyle>
            <a:lvl1pPr>
              <a:lnSpc>
                <a:spcPct val="100000"/>
              </a:lnSpc>
              <a:spcBef>
                <a:spcPts val="100"/>
              </a:spcBef>
              <a:defRPr sz="1000">
                <a:solidFill>
                  <a:srgbClr val="23283C"/>
                </a:solidFill>
                <a:latin typeface="+mn-lt"/>
              </a:defRPr>
            </a:lvl1pPr>
            <a:lvl2pPr marL="182880" indent="-182880">
              <a:lnSpc>
                <a:spcPct val="100000"/>
              </a:lnSpc>
              <a:spcBef>
                <a:spcPts val="100"/>
              </a:spcBef>
              <a:buClr>
                <a:srgbClr val="23283C"/>
              </a:buClr>
              <a:buFont typeface="Symbol" panose="05050102010706020507" pitchFamily="18" charset="2"/>
              <a:buChar char=""/>
              <a:defRPr sz="1000">
                <a:solidFill>
                  <a:srgbClr val="23283C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100"/>
              </a:spcBef>
              <a:buClr>
                <a:srgbClr val="23283C"/>
              </a:buClr>
              <a:defRPr sz="1000">
                <a:solidFill>
                  <a:srgbClr val="23283C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100"/>
              </a:spcBef>
              <a:buClr>
                <a:srgbClr val="23283C"/>
              </a:buClr>
              <a:defRPr sz="1000">
                <a:solidFill>
                  <a:srgbClr val="23283C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100"/>
              </a:spcBef>
              <a:buClr>
                <a:srgbClr val="23283C"/>
              </a:buClr>
              <a:defRPr sz="1000">
                <a:solidFill>
                  <a:srgbClr val="23283C"/>
                </a:solidFill>
              </a:defRPr>
            </a:lvl5pPr>
            <a:lvl6pPr marL="0" indent="0">
              <a:lnSpc>
                <a:spcPct val="100000"/>
              </a:lnSpc>
              <a:spcBef>
                <a:spcPts val="100"/>
              </a:spcBef>
              <a:buClr>
                <a:srgbClr val="23283C"/>
              </a:buClr>
              <a:defRPr sz="1000">
                <a:solidFill>
                  <a:srgbClr val="23283C"/>
                </a:solidFill>
              </a:defRPr>
            </a:lvl6pPr>
            <a:lvl7pPr>
              <a:lnSpc>
                <a:spcPct val="100000"/>
              </a:lnSpc>
              <a:spcBef>
                <a:spcPts val="100"/>
              </a:spcBef>
              <a:defRPr sz="1000">
                <a:solidFill>
                  <a:srgbClr val="23283C"/>
                </a:solidFill>
              </a:defRPr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B9BCED40-A966-406C-98AA-CC8A1CC6E55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D68AE6-30CB-493A-9A3C-10958BB7E3D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5633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69" hasCustomPrompt="1"/>
          </p:nvPr>
        </p:nvSpPr>
        <p:spPr>
          <a:xfrm>
            <a:off x="486063" y="2073283"/>
            <a:ext cx="9721273" cy="4709615"/>
          </a:xfrm>
          <a:noFill/>
        </p:spPr>
        <p:txBody>
          <a:bodyPr tIns="0">
            <a:noAutofit/>
          </a:bodyPr>
          <a:lstStyle>
            <a:lvl1pPr marL="0" indent="0" algn="just">
              <a:lnSpc>
                <a:spcPts val="1400"/>
              </a:lnSpc>
              <a:spcBef>
                <a:spcPts val="800"/>
              </a:spcBef>
              <a:buFont typeface="Aptos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 algn="just">
              <a:lnSpc>
                <a:spcPts val="1400"/>
              </a:lnSpc>
              <a:buFont typeface="Aptos" panose="020B0604020202020204" pitchFamily="34" charset="0"/>
              <a:buNone/>
              <a:defRPr sz="1000" b="0">
                <a:solidFill>
                  <a:schemeClr val="tx1"/>
                </a:solidFill>
              </a:defRPr>
            </a:lvl2pPr>
            <a:lvl3pPr marL="228600" indent="0" algn="just">
              <a:lnSpc>
                <a:spcPts val="1400"/>
              </a:lnSpc>
              <a:buNone/>
              <a:defRPr sz="1000">
                <a:solidFill>
                  <a:schemeClr val="tx1"/>
                </a:solidFill>
              </a:defRPr>
            </a:lvl3pPr>
            <a:lvl4pPr marL="457200" indent="0" algn="just">
              <a:lnSpc>
                <a:spcPts val="1400"/>
              </a:lnSpc>
              <a:buNone/>
              <a:defRPr sz="1000">
                <a:solidFill>
                  <a:schemeClr val="tx1"/>
                </a:solidFill>
              </a:defRPr>
            </a:lvl4pPr>
            <a:lvl5pPr marL="685800" indent="0" algn="just">
              <a:lnSpc>
                <a:spcPts val="1400"/>
              </a:lnSpc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Use Alt + Shift + Right or Left Arrow to adjust your tex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6065" y="1571558"/>
            <a:ext cx="9721273" cy="276999"/>
          </a:xfrm>
          <a:noFill/>
        </p:spPr>
        <p:txBody>
          <a:bodyPr/>
          <a:lstStyle>
            <a:lvl1pPr>
              <a:defRPr/>
            </a:lvl1pPr>
            <a:lvl2pPr indent="-230400">
              <a:buClr>
                <a:schemeClr val="tx2"/>
              </a:buClr>
              <a:buFont typeface="Symbol" panose="05050102010706020507" pitchFamily="18" charset="2"/>
              <a:buChar char="·"/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1143000" indent="-228600">
              <a:buFont typeface="Symbol" panose="05050102010706020507" pitchFamily="18" charset="2"/>
              <a:buChar char="·"/>
              <a:defRPr lang="en-US" sz="11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3" name="Client Name/Presentation Title">
            <a:extLst>
              <a:ext uri="{FF2B5EF4-FFF2-40B4-BE49-F238E27FC236}">
                <a16:creationId xmlns:a16="http://schemas.microsoft.com/office/drawing/2014/main" id="{AA930DE4-D3D0-4F41-BFA0-648250FE6F37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B66779-9C7F-4826-9A56-9358AE603530}"/>
              </a:ext>
            </a:extLst>
          </p:cNvPr>
          <p:cNvSpPr>
            <a:spLocks noGrp="1"/>
          </p:cNvSpPr>
          <p:nvPr>
            <p:ph type="sldNum" sz="quarter" idx="71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5319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p_Draft" hidden="1"/>
          <p:cNvSpPr/>
          <p:nvPr userDrawn="1"/>
        </p:nvSpPr>
        <p:spPr>
          <a:xfrm>
            <a:off x="486064" y="267060"/>
            <a:ext cx="1134148" cy="400110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2000" b="1" kern="1200">
                <a:solidFill>
                  <a:srgbClr val="BEBEBE"/>
                </a:solidFill>
                <a:latin typeface="+mn-lt"/>
                <a:ea typeface="+mn-ea"/>
                <a:cs typeface="+mn-cs"/>
              </a:rPr>
              <a:t>DRAFT</a:t>
            </a:r>
            <a:endParaRPr lang="en-US">
              <a:solidFill>
                <a:srgbClr val="BEBEB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064" y="1556731"/>
            <a:ext cx="9721273" cy="1545"/>
          </a:xfrm>
          <a:prstGeom prst="line">
            <a:avLst/>
          </a:prstGeom>
          <a:noFill/>
          <a:ln w="3175">
            <a:noFill/>
            <a:round/>
            <a:headEnd/>
            <a:tailEnd/>
          </a:ln>
        </p:spPr>
      </p:cxnSp>
      <p:sp>
        <p:nvSpPr>
          <p:cNvPr id="14" name="shp_Confidential"/>
          <p:cNvSpPr txBox="1">
            <a:spLocks/>
          </p:cNvSpPr>
          <p:nvPr userDrawn="1"/>
        </p:nvSpPr>
        <p:spPr>
          <a:xfrm>
            <a:off x="2399939" y="667170"/>
            <a:ext cx="5893522" cy="177912"/>
          </a:xfrm>
          <a:prstGeom prst="rect">
            <a:avLst/>
          </a:prstGeom>
        </p:spPr>
        <p:txBody>
          <a:bodyPr vert="horz" lIns="0" tIns="0" rIns="0" bIns="27432" rtlCol="0" anchor="b" anchorCtr="0"/>
          <a:lstStyle>
            <a:defPPr>
              <a:defRPr lang="en-US"/>
            </a:defPPr>
            <a:lvl1pPr marL="0" algn="r" defTabSz="1018824" rtl="0" eaLnBrk="1" latinLnBrk="0" hangingPunct="1">
              <a:defRPr sz="800" b="1" i="0" kern="1200" cap="all" spc="200" baseline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b="0">
              <a:solidFill>
                <a:srgbClr val="FFFFFF">
                  <a:lumMod val="50000"/>
                </a:srgbClr>
              </a:solidFill>
              <a:latin typeface="Aptos Narrow" panose="020B0606020202030204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6064" y="889560"/>
            <a:ext cx="972127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15" name="Confidential Stamp">
            <a:extLst>
              <a:ext uri="{FF2B5EF4-FFF2-40B4-BE49-F238E27FC236}">
                <a16:creationId xmlns:a16="http://schemas.microsoft.com/office/drawing/2014/main" id="{6CCD1435-0B6C-40DD-8586-23C184AE8EEC}"/>
              </a:ext>
            </a:extLst>
          </p:cNvPr>
          <p:cNvSpPr txBox="1">
            <a:spLocks/>
          </p:cNvSpPr>
          <p:nvPr userDrawn="1"/>
        </p:nvSpPr>
        <p:spPr>
          <a:xfrm>
            <a:off x="495792" y="667170"/>
            <a:ext cx="4860636" cy="177912"/>
          </a:xfrm>
          <a:prstGeom prst="rect">
            <a:avLst/>
          </a:prstGeom>
        </p:spPr>
        <p:txBody>
          <a:bodyPr vert="horz" lIns="0" tIns="0" rIns="0" bIns="27432" rtlCol="0" anchor="b" anchorCtr="0">
            <a:noAutofit/>
          </a:bodyPr>
          <a:lstStyle>
            <a:defPPr>
              <a:defRPr lang="en-US"/>
            </a:defPPr>
            <a:lvl1pPr>
              <a:defRPr sz="900" b="0" i="0" cap="all" spc="200" baseline="0"/>
            </a:lvl1pPr>
          </a:lstStyle>
          <a:p>
            <a:pPr lvl="0"/>
            <a:r>
              <a:rPr lang="en-US" noProof="0"/>
              <a:t>Confidential</a:t>
            </a:r>
          </a:p>
        </p:txBody>
      </p:sp>
      <p:sp>
        <p:nvSpPr>
          <p:cNvPr id="3" name="Text Box 2">
            <a:extLst>
              <a:ext uri="{FF2B5EF4-FFF2-40B4-BE49-F238E27FC236}">
                <a16:creationId xmlns:a16="http://schemas.microsoft.com/office/drawing/2014/main" id="{7254B1BC-FF95-4E30-BECC-6832915FD3D2}"/>
              </a:ext>
            </a:extLst>
          </p:cNvPr>
          <p:cNvSpPr txBox="1">
            <a:spLocks/>
          </p:cNvSpPr>
          <p:nvPr userDrawn="1"/>
        </p:nvSpPr>
        <p:spPr>
          <a:xfrm>
            <a:off x="486064" y="1188943"/>
            <a:ext cx="9721273" cy="398186"/>
          </a:xfrm>
          <a:prstGeom prst="rect">
            <a:avLst/>
          </a:prstGeom>
        </p:spPr>
        <p:txBody>
          <a:bodyPr vert="horz" lIns="0" tIns="0" rIns="0" bIns="91440" rtlCol="0" anchor="b" anchorCtr="0">
            <a:noAutofit/>
          </a:bodyPr>
          <a:lstStyle>
            <a:lvl1pPr lvl="0">
              <a:lnSpc>
                <a:spcPct val="85000"/>
              </a:lnSpc>
              <a:spcBef>
                <a:spcPct val="0"/>
              </a:spcBef>
              <a:buNone/>
              <a:defRPr lang="en-US" sz="2200" b="0" i="0" baseline="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Table of Contents</a:t>
            </a:r>
          </a:p>
        </p:txBody>
      </p:sp>
      <p:sp>
        <p:nvSpPr>
          <p:cNvPr id="7" name="Client Name/Presentation Title">
            <a:extLst>
              <a:ext uri="{FF2B5EF4-FFF2-40B4-BE49-F238E27FC236}">
                <a16:creationId xmlns:a16="http://schemas.microsoft.com/office/drawing/2014/main" id="{9D49CA80-B06E-41A7-9665-3A1FD57214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46700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pPr algn="r"/>
            <a:r>
              <a:rPr lang="en-US" noProof="0"/>
              <a:t>Lazard RHQ Governance Framework</a:t>
            </a:r>
          </a:p>
        </p:txBody>
      </p:sp>
      <p:grpSp>
        <p:nvGrpSpPr>
          <p:cNvPr id="4" name="MainLogo">
            <a:extLst>
              <a:ext uri="{FF2B5EF4-FFF2-40B4-BE49-F238E27FC236}">
                <a16:creationId xmlns:a16="http://schemas.microsoft.com/office/drawing/2014/main" id="{85D17127-60E3-A4D6-9B69-51D9336AF06D}"/>
              </a:ext>
            </a:extLst>
          </p:cNvPr>
          <p:cNvGrpSpPr/>
          <p:nvPr userDrawn="1"/>
        </p:nvGrpSpPr>
        <p:grpSpPr>
          <a:xfrm>
            <a:off x="486664" y="6995460"/>
            <a:ext cx="801858" cy="150418"/>
            <a:chOff x="450851" y="7519507"/>
            <a:chExt cx="801858" cy="150418"/>
          </a:xfrm>
          <a:solidFill>
            <a:schemeClr val="tx1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6B8E625-9F5C-7BEA-EF1A-FC62A41C9D75}"/>
                </a:ext>
              </a:extLst>
            </p:cNvPr>
            <p:cNvSpPr/>
            <p:nvPr/>
          </p:nvSpPr>
          <p:spPr>
            <a:xfrm>
              <a:off x="727769" y="7539586"/>
              <a:ext cx="105639" cy="130296"/>
            </a:xfrm>
            <a:custGeom>
              <a:avLst/>
              <a:gdLst>
                <a:gd name="connsiteX0" fmla="*/ 215400 w 221424"/>
                <a:gd name="connsiteY0" fmla="*/ 2422 h 273108"/>
                <a:gd name="connsiteX1" fmla="*/ 219003 w 221424"/>
                <a:gd name="connsiteY1" fmla="*/ 2422 h 273108"/>
                <a:gd name="connsiteX2" fmla="*/ 221425 w 221424"/>
                <a:gd name="connsiteY2" fmla="*/ 4845 h 273108"/>
                <a:gd name="connsiteX3" fmla="*/ 219608 w 221424"/>
                <a:gd name="connsiteY3" fmla="*/ 9053 h 273108"/>
                <a:gd name="connsiteX4" fmla="*/ 45750 w 221424"/>
                <a:gd name="connsiteY4" fmla="*/ 257485 h 273108"/>
                <a:gd name="connsiteX5" fmla="*/ 137796 w 221424"/>
                <a:gd name="connsiteY5" fmla="*/ 256880 h 273108"/>
                <a:gd name="connsiteX6" fmla="*/ 199746 w 221424"/>
                <a:gd name="connsiteY6" fmla="*/ 239440 h 273108"/>
                <a:gd name="connsiteX7" fmla="*/ 207558 w 221424"/>
                <a:gd name="connsiteY7" fmla="*/ 220183 h 273108"/>
                <a:gd name="connsiteX8" fmla="*/ 211161 w 221424"/>
                <a:gd name="connsiteY8" fmla="*/ 214157 h 273108"/>
                <a:gd name="connsiteX9" fmla="*/ 214764 w 221424"/>
                <a:gd name="connsiteY9" fmla="*/ 214157 h 273108"/>
                <a:gd name="connsiteX10" fmla="*/ 206346 w 221424"/>
                <a:gd name="connsiteY10" fmla="*/ 263480 h 273108"/>
                <a:gd name="connsiteX11" fmla="*/ 194326 w 221424"/>
                <a:gd name="connsiteY11" fmla="*/ 273109 h 273108"/>
                <a:gd name="connsiteX12" fmla="*/ 6025 w 221424"/>
                <a:gd name="connsiteY12" fmla="*/ 273109 h 273108"/>
                <a:gd name="connsiteX13" fmla="*/ 0 w 221424"/>
                <a:gd name="connsiteY13" fmla="*/ 268295 h 273108"/>
                <a:gd name="connsiteX14" fmla="*/ 5420 w 221424"/>
                <a:gd name="connsiteY14" fmla="*/ 258061 h 273108"/>
                <a:gd name="connsiteX15" fmla="*/ 141975 w 221424"/>
                <a:gd name="connsiteY15" fmla="*/ 78814 h 273108"/>
                <a:gd name="connsiteX16" fmla="*/ 182881 w 221424"/>
                <a:gd name="connsiteY16" fmla="*/ 21649 h 273108"/>
                <a:gd name="connsiteX17" fmla="*/ 186484 w 221424"/>
                <a:gd name="connsiteY17" fmla="*/ 16835 h 273108"/>
                <a:gd name="connsiteX18" fmla="*/ 89018 w 221424"/>
                <a:gd name="connsiteY18" fmla="*/ 17440 h 273108"/>
                <a:gd name="connsiteX19" fmla="*/ 60163 w 221424"/>
                <a:gd name="connsiteY19" fmla="*/ 19227 h 273108"/>
                <a:gd name="connsiteX20" fmla="*/ 42723 w 221424"/>
                <a:gd name="connsiteY20" fmla="*/ 24646 h 273108"/>
                <a:gd name="connsiteX21" fmla="*/ 20468 w 221424"/>
                <a:gd name="connsiteY21" fmla="*/ 52926 h 273108"/>
                <a:gd name="connsiteX22" fmla="*/ 16259 w 221424"/>
                <a:gd name="connsiteY22" fmla="*/ 59527 h 273108"/>
                <a:gd name="connsiteX23" fmla="*/ 13837 w 221424"/>
                <a:gd name="connsiteY23" fmla="*/ 54713 h 273108"/>
                <a:gd name="connsiteX24" fmla="*/ 21649 w 221424"/>
                <a:gd name="connsiteY24" fmla="*/ 7206 h 273108"/>
                <a:gd name="connsiteX25" fmla="*/ 25252 w 221424"/>
                <a:gd name="connsiteY25" fmla="*/ 0 h 273108"/>
                <a:gd name="connsiteX26" fmla="*/ 38484 w 221424"/>
                <a:gd name="connsiteY26" fmla="*/ 1817 h 273108"/>
                <a:gd name="connsiteX27" fmla="*/ 108850 w 221424"/>
                <a:gd name="connsiteY27" fmla="*/ 1817 h 273108"/>
                <a:gd name="connsiteX28" fmla="*/ 215339 w 221424"/>
                <a:gd name="connsiteY28" fmla="*/ 2422 h 273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21424" h="273108">
                  <a:moveTo>
                    <a:pt x="215400" y="2422"/>
                  </a:moveTo>
                  <a:lnTo>
                    <a:pt x="219003" y="2422"/>
                  </a:lnTo>
                  <a:cubicBezTo>
                    <a:pt x="220819" y="3028"/>
                    <a:pt x="221425" y="3633"/>
                    <a:pt x="221425" y="4845"/>
                  </a:cubicBezTo>
                  <a:cubicBezTo>
                    <a:pt x="221425" y="6661"/>
                    <a:pt x="221425" y="7267"/>
                    <a:pt x="219608" y="9053"/>
                  </a:cubicBezTo>
                  <a:cubicBezTo>
                    <a:pt x="162443" y="92076"/>
                    <a:pt x="105308" y="175068"/>
                    <a:pt x="45750" y="257485"/>
                  </a:cubicBezTo>
                  <a:lnTo>
                    <a:pt x="137796" y="256880"/>
                  </a:lnTo>
                  <a:cubicBezTo>
                    <a:pt x="178702" y="256880"/>
                    <a:pt x="191328" y="250249"/>
                    <a:pt x="199746" y="239440"/>
                  </a:cubicBezTo>
                  <a:cubicBezTo>
                    <a:pt x="203349" y="234625"/>
                    <a:pt x="206952" y="224997"/>
                    <a:pt x="207558" y="220183"/>
                  </a:cubicBezTo>
                  <a:cubicBezTo>
                    <a:pt x="208163" y="216580"/>
                    <a:pt x="211161" y="214157"/>
                    <a:pt x="211161" y="214157"/>
                  </a:cubicBezTo>
                  <a:lnTo>
                    <a:pt x="214764" y="214157"/>
                  </a:lnTo>
                  <a:cubicBezTo>
                    <a:pt x="214764" y="214157"/>
                    <a:pt x="208738" y="254458"/>
                    <a:pt x="206346" y="263480"/>
                  </a:cubicBezTo>
                  <a:cubicBezTo>
                    <a:pt x="203954" y="272503"/>
                    <a:pt x="203349" y="273109"/>
                    <a:pt x="194326" y="273109"/>
                  </a:cubicBezTo>
                  <a:lnTo>
                    <a:pt x="6025" y="273109"/>
                  </a:lnTo>
                  <a:cubicBezTo>
                    <a:pt x="1817" y="273109"/>
                    <a:pt x="0" y="270687"/>
                    <a:pt x="0" y="268295"/>
                  </a:cubicBezTo>
                  <a:cubicBezTo>
                    <a:pt x="0" y="266478"/>
                    <a:pt x="1211" y="264692"/>
                    <a:pt x="5420" y="258061"/>
                  </a:cubicBezTo>
                  <a:cubicBezTo>
                    <a:pt x="48718" y="198504"/>
                    <a:pt x="97435" y="138946"/>
                    <a:pt x="141975" y="78814"/>
                  </a:cubicBezTo>
                  <a:cubicBezTo>
                    <a:pt x="155812" y="60163"/>
                    <a:pt x="169649" y="40906"/>
                    <a:pt x="182881" y="21649"/>
                  </a:cubicBezTo>
                  <a:cubicBezTo>
                    <a:pt x="184092" y="19832"/>
                    <a:pt x="185303" y="18651"/>
                    <a:pt x="186484" y="16835"/>
                  </a:cubicBezTo>
                  <a:lnTo>
                    <a:pt x="89018" y="17440"/>
                  </a:lnTo>
                  <a:cubicBezTo>
                    <a:pt x="76998" y="17440"/>
                    <a:pt x="67975" y="18046"/>
                    <a:pt x="60163" y="19227"/>
                  </a:cubicBezTo>
                  <a:cubicBezTo>
                    <a:pt x="53532" y="20438"/>
                    <a:pt x="47537" y="22224"/>
                    <a:pt x="42723" y="24646"/>
                  </a:cubicBezTo>
                  <a:cubicBezTo>
                    <a:pt x="28885" y="31247"/>
                    <a:pt x="20468" y="52926"/>
                    <a:pt x="20468" y="52926"/>
                  </a:cubicBezTo>
                  <a:lnTo>
                    <a:pt x="16259" y="59527"/>
                  </a:lnTo>
                  <a:cubicBezTo>
                    <a:pt x="16259" y="59527"/>
                    <a:pt x="13837" y="57740"/>
                    <a:pt x="13837" y="54713"/>
                  </a:cubicBezTo>
                  <a:cubicBezTo>
                    <a:pt x="13837" y="50504"/>
                    <a:pt x="19257" y="18015"/>
                    <a:pt x="21649" y="7206"/>
                  </a:cubicBezTo>
                  <a:cubicBezTo>
                    <a:pt x="22255" y="1786"/>
                    <a:pt x="25252" y="0"/>
                    <a:pt x="25252" y="0"/>
                  </a:cubicBezTo>
                  <a:cubicBezTo>
                    <a:pt x="25252" y="0"/>
                    <a:pt x="27644" y="1817"/>
                    <a:pt x="38484" y="1817"/>
                  </a:cubicBezTo>
                  <a:lnTo>
                    <a:pt x="108850" y="1817"/>
                  </a:lnTo>
                  <a:lnTo>
                    <a:pt x="215339" y="2422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6CDBC7C-CBB2-1190-1796-6122582ED3D9}"/>
                </a:ext>
              </a:extLst>
            </p:cNvPr>
            <p:cNvSpPr/>
            <p:nvPr/>
          </p:nvSpPr>
          <p:spPr>
            <a:xfrm>
              <a:off x="579704" y="7536212"/>
              <a:ext cx="136306" cy="133685"/>
            </a:xfrm>
            <a:custGeom>
              <a:avLst/>
              <a:gdLst>
                <a:gd name="connsiteX0" fmla="*/ 266509 w 285705"/>
                <a:gd name="connsiteY0" fmla="*/ 272975 h 280211"/>
                <a:gd name="connsiteX1" fmla="*/ 235837 w 285705"/>
                <a:gd name="connsiteY1" fmla="*/ 234461 h 280211"/>
                <a:gd name="connsiteX2" fmla="*/ 138977 w 285705"/>
                <a:gd name="connsiteY2" fmla="*/ 1077 h 280211"/>
                <a:gd name="connsiteX3" fmla="*/ 136555 w 285705"/>
                <a:gd name="connsiteY3" fmla="*/ 2288 h 280211"/>
                <a:gd name="connsiteX4" fmla="*/ 45720 w 285705"/>
                <a:gd name="connsiteY4" fmla="*/ 239306 h 280211"/>
                <a:gd name="connsiteX5" fmla="*/ 14443 w 285705"/>
                <a:gd name="connsiteY5" fmla="*/ 274186 h 280211"/>
                <a:gd name="connsiteX6" fmla="*/ 0 w 285705"/>
                <a:gd name="connsiteY6" fmla="*/ 275397 h 280211"/>
                <a:gd name="connsiteX7" fmla="*/ 0 w 285705"/>
                <a:gd name="connsiteY7" fmla="*/ 277214 h 280211"/>
                <a:gd name="connsiteX8" fmla="*/ 7206 w 285705"/>
                <a:gd name="connsiteY8" fmla="*/ 280212 h 280211"/>
                <a:gd name="connsiteX9" fmla="*/ 78784 w 285705"/>
                <a:gd name="connsiteY9" fmla="*/ 280212 h 280211"/>
                <a:gd name="connsiteX10" fmla="*/ 84204 w 285705"/>
                <a:gd name="connsiteY10" fmla="*/ 277214 h 280211"/>
                <a:gd name="connsiteX11" fmla="*/ 84204 w 285705"/>
                <a:gd name="connsiteY11" fmla="*/ 276003 h 280211"/>
                <a:gd name="connsiteX12" fmla="*/ 76998 w 285705"/>
                <a:gd name="connsiteY12" fmla="*/ 275397 h 280211"/>
                <a:gd name="connsiteX13" fmla="*/ 62555 w 285705"/>
                <a:gd name="connsiteY13" fmla="*/ 264558 h 280211"/>
                <a:gd name="connsiteX14" fmla="*/ 67975 w 285705"/>
                <a:gd name="connsiteY14" fmla="*/ 239306 h 280211"/>
                <a:gd name="connsiteX15" fmla="*/ 92046 w 285705"/>
                <a:gd name="connsiteY15" fmla="*/ 169515 h 280211"/>
                <a:gd name="connsiteX16" fmla="*/ 176855 w 285705"/>
                <a:gd name="connsiteY16" fmla="*/ 170120 h 280211"/>
                <a:gd name="connsiteX17" fmla="*/ 212947 w 285705"/>
                <a:gd name="connsiteY17" fmla="*/ 264558 h 280211"/>
                <a:gd name="connsiteX18" fmla="*/ 210525 w 285705"/>
                <a:gd name="connsiteY18" fmla="*/ 274186 h 280211"/>
                <a:gd name="connsiteX19" fmla="*/ 208102 w 285705"/>
                <a:gd name="connsiteY19" fmla="*/ 277184 h 280211"/>
                <a:gd name="connsiteX20" fmla="*/ 218942 w 285705"/>
                <a:gd name="connsiteY20" fmla="*/ 280181 h 280211"/>
                <a:gd name="connsiteX21" fmla="*/ 277894 w 285705"/>
                <a:gd name="connsiteY21" fmla="*/ 280181 h 280211"/>
                <a:gd name="connsiteX22" fmla="*/ 285706 w 285705"/>
                <a:gd name="connsiteY22" fmla="*/ 277184 h 280211"/>
                <a:gd name="connsiteX23" fmla="*/ 285100 w 285705"/>
                <a:gd name="connsiteY23" fmla="*/ 275367 h 280211"/>
                <a:gd name="connsiteX24" fmla="*/ 266449 w 285705"/>
                <a:gd name="connsiteY24" fmla="*/ 272945 h 280211"/>
                <a:gd name="connsiteX25" fmla="*/ 95619 w 285705"/>
                <a:gd name="connsiteY25" fmla="*/ 156253 h 280211"/>
                <a:gd name="connsiteX26" fmla="*/ 133527 w 285705"/>
                <a:gd name="connsiteY26" fmla="*/ 47373 h 280211"/>
                <a:gd name="connsiteX27" fmla="*/ 172011 w 285705"/>
                <a:gd name="connsiteY27" fmla="*/ 156253 h 280211"/>
                <a:gd name="connsiteX28" fmla="*/ 95619 w 285705"/>
                <a:gd name="connsiteY28" fmla="*/ 156253 h 28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5705" h="280211">
                  <a:moveTo>
                    <a:pt x="266509" y="272975"/>
                  </a:moveTo>
                  <a:cubicBezTo>
                    <a:pt x="259303" y="270583"/>
                    <a:pt x="249069" y="265163"/>
                    <a:pt x="235837" y="234461"/>
                  </a:cubicBezTo>
                  <a:lnTo>
                    <a:pt x="138977" y="1077"/>
                  </a:lnTo>
                  <a:cubicBezTo>
                    <a:pt x="137766" y="-1920"/>
                    <a:pt x="136555" y="2288"/>
                    <a:pt x="136555" y="2288"/>
                  </a:cubicBezTo>
                  <a:lnTo>
                    <a:pt x="45720" y="239306"/>
                  </a:lnTo>
                  <a:cubicBezTo>
                    <a:pt x="39120" y="257957"/>
                    <a:pt x="31883" y="272400"/>
                    <a:pt x="14443" y="274186"/>
                  </a:cubicBezTo>
                  <a:cubicBezTo>
                    <a:pt x="11445" y="274792"/>
                    <a:pt x="0" y="275397"/>
                    <a:pt x="0" y="275397"/>
                  </a:cubicBezTo>
                  <a:lnTo>
                    <a:pt x="0" y="277214"/>
                  </a:lnTo>
                  <a:cubicBezTo>
                    <a:pt x="0" y="277214"/>
                    <a:pt x="2392" y="280212"/>
                    <a:pt x="7206" y="280212"/>
                  </a:cubicBezTo>
                  <a:lnTo>
                    <a:pt x="78784" y="280212"/>
                  </a:lnTo>
                  <a:cubicBezTo>
                    <a:pt x="82387" y="280212"/>
                    <a:pt x="84204" y="277214"/>
                    <a:pt x="84204" y="277214"/>
                  </a:cubicBezTo>
                  <a:lnTo>
                    <a:pt x="84204" y="276003"/>
                  </a:lnTo>
                  <a:lnTo>
                    <a:pt x="76998" y="275397"/>
                  </a:lnTo>
                  <a:cubicBezTo>
                    <a:pt x="70367" y="275397"/>
                    <a:pt x="62555" y="271794"/>
                    <a:pt x="62555" y="264558"/>
                  </a:cubicBezTo>
                  <a:cubicBezTo>
                    <a:pt x="62555" y="257321"/>
                    <a:pt x="64341" y="248329"/>
                    <a:pt x="67975" y="239306"/>
                  </a:cubicBezTo>
                  <a:lnTo>
                    <a:pt x="92046" y="169515"/>
                  </a:lnTo>
                  <a:lnTo>
                    <a:pt x="176855" y="170120"/>
                  </a:lnTo>
                  <a:lnTo>
                    <a:pt x="212947" y="264558"/>
                  </a:lnTo>
                  <a:cubicBezTo>
                    <a:pt x="215339" y="270583"/>
                    <a:pt x="212947" y="273581"/>
                    <a:pt x="210525" y="274186"/>
                  </a:cubicBezTo>
                  <a:cubicBezTo>
                    <a:pt x="209314" y="274792"/>
                    <a:pt x="208102" y="275397"/>
                    <a:pt x="208102" y="277184"/>
                  </a:cubicBezTo>
                  <a:cubicBezTo>
                    <a:pt x="208102" y="279576"/>
                    <a:pt x="211706" y="280181"/>
                    <a:pt x="218942" y="280181"/>
                  </a:cubicBezTo>
                  <a:lnTo>
                    <a:pt x="277894" y="280181"/>
                  </a:lnTo>
                  <a:cubicBezTo>
                    <a:pt x="282103" y="280181"/>
                    <a:pt x="285706" y="277184"/>
                    <a:pt x="285706" y="277184"/>
                  </a:cubicBezTo>
                  <a:lnTo>
                    <a:pt x="285100" y="275367"/>
                  </a:lnTo>
                  <a:cubicBezTo>
                    <a:pt x="285100" y="275367"/>
                    <a:pt x="272474" y="274762"/>
                    <a:pt x="266449" y="272945"/>
                  </a:cubicBezTo>
                  <a:moveTo>
                    <a:pt x="95619" y="156253"/>
                  </a:moveTo>
                  <a:lnTo>
                    <a:pt x="133527" y="47373"/>
                  </a:lnTo>
                  <a:lnTo>
                    <a:pt x="172011" y="156253"/>
                  </a:lnTo>
                  <a:lnTo>
                    <a:pt x="95619" y="156253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CF0C1C2-AE43-A036-6FC2-BE9C8D01CA87}"/>
                </a:ext>
              </a:extLst>
            </p:cNvPr>
            <p:cNvSpPr/>
            <p:nvPr/>
          </p:nvSpPr>
          <p:spPr>
            <a:xfrm>
              <a:off x="840573" y="7536212"/>
              <a:ext cx="136032" cy="133685"/>
            </a:xfrm>
            <a:custGeom>
              <a:avLst/>
              <a:gdLst>
                <a:gd name="connsiteX0" fmla="*/ 266509 w 285130"/>
                <a:gd name="connsiteY0" fmla="*/ 272975 h 280211"/>
                <a:gd name="connsiteX1" fmla="*/ 235837 w 285130"/>
                <a:gd name="connsiteY1" fmla="*/ 234461 h 280211"/>
                <a:gd name="connsiteX2" fmla="*/ 138977 w 285130"/>
                <a:gd name="connsiteY2" fmla="*/ 1077 h 280211"/>
                <a:gd name="connsiteX3" fmla="*/ 136555 w 285130"/>
                <a:gd name="connsiteY3" fmla="*/ 2288 h 280211"/>
                <a:gd name="connsiteX4" fmla="*/ 45720 w 285130"/>
                <a:gd name="connsiteY4" fmla="*/ 239306 h 280211"/>
                <a:gd name="connsiteX5" fmla="*/ 14443 w 285130"/>
                <a:gd name="connsiteY5" fmla="*/ 274186 h 280211"/>
                <a:gd name="connsiteX6" fmla="*/ 0 w 285130"/>
                <a:gd name="connsiteY6" fmla="*/ 275397 h 280211"/>
                <a:gd name="connsiteX7" fmla="*/ 0 w 285130"/>
                <a:gd name="connsiteY7" fmla="*/ 277214 h 280211"/>
                <a:gd name="connsiteX8" fmla="*/ 7206 w 285130"/>
                <a:gd name="connsiteY8" fmla="*/ 280212 h 280211"/>
                <a:gd name="connsiteX9" fmla="*/ 78784 w 285130"/>
                <a:gd name="connsiteY9" fmla="*/ 280212 h 280211"/>
                <a:gd name="connsiteX10" fmla="*/ 84204 w 285130"/>
                <a:gd name="connsiteY10" fmla="*/ 277214 h 280211"/>
                <a:gd name="connsiteX11" fmla="*/ 84204 w 285130"/>
                <a:gd name="connsiteY11" fmla="*/ 276003 h 280211"/>
                <a:gd name="connsiteX12" fmla="*/ 76998 w 285130"/>
                <a:gd name="connsiteY12" fmla="*/ 275397 h 280211"/>
                <a:gd name="connsiteX13" fmla="*/ 62555 w 285130"/>
                <a:gd name="connsiteY13" fmla="*/ 264558 h 280211"/>
                <a:gd name="connsiteX14" fmla="*/ 67975 w 285130"/>
                <a:gd name="connsiteY14" fmla="*/ 239306 h 280211"/>
                <a:gd name="connsiteX15" fmla="*/ 92046 w 285130"/>
                <a:gd name="connsiteY15" fmla="*/ 169515 h 280211"/>
                <a:gd name="connsiteX16" fmla="*/ 176855 w 285130"/>
                <a:gd name="connsiteY16" fmla="*/ 170120 h 280211"/>
                <a:gd name="connsiteX17" fmla="*/ 212947 w 285130"/>
                <a:gd name="connsiteY17" fmla="*/ 264558 h 280211"/>
                <a:gd name="connsiteX18" fmla="*/ 210525 w 285130"/>
                <a:gd name="connsiteY18" fmla="*/ 274186 h 280211"/>
                <a:gd name="connsiteX19" fmla="*/ 208133 w 285130"/>
                <a:gd name="connsiteY19" fmla="*/ 277184 h 280211"/>
                <a:gd name="connsiteX20" fmla="*/ 218972 w 285130"/>
                <a:gd name="connsiteY20" fmla="*/ 280181 h 280211"/>
                <a:gd name="connsiteX21" fmla="*/ 277924 w 285130"/>
                <a:gd name="connsiteY21" fmla="*/ 280181 h 280211"/>
                <a:gd name="connsiteX22" fmla="*/ 285130 w 285130"/>
                <a:gd name="connsiteY22" fmla="*/ 277184 h 280211"/>
                <a:gd name="connsiteX23" fmla="*/ 285130 w 285130"/>
                <a:gd name="connsiteY23" fmla="*/ 275367 h 280211"/>
                <a:gd name="connsiteX24" fmla="*/ 266479 w 285130"/>
                <a:gd name="connsiteY24" fmla="*/ 272945 h 280211"/>
                <a:gd name="connsiteX25" fmla="*/ 95649 w 285130"/>
                <a:gd name="connsiteY25" fmla="*/ 156253 h 280211"/>
                <a:gd name="connsiteX26" fmla="*/ 133557 w 285130"/>
                <a:gd name="connsiteY26" fmla="*/ 47373 h 280211"/>
                <a:gd name="connsiteX27" fmla="*/ 172041 w 285130"/>
                <a:gd name="connsiteY27" fmla="*/ 156253 h 280211"/>
                <a:gd name="connsiteX28" fmla="*/ 95649 w 285130"/>
                <a:gd name="connsiteY28" fmla="*/ 156253 h 28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5130" h="280211">
                  <a:moveTo>
                    <a:pt x="266509" y="272975"/>
                  </a:moveTo>
                  <a:cubicBezTo>
                    <a:pt x="259303" y="270583"/>
                    <a:pt x="248463" y="265163"/>
                    <a:pt x="235837" y="234461"/>
                  </a:cubicBezTo>
                  <a:lnTo>
                    <a:pt x="138977" y="1077"/>
                  </a:lnTo>
                  <a:cubicBezTo>
                    <a:pt x="137766" y="-1920"/>
                    <a:pt x="136555" y="2288"/>
                    <a:pt x="136555" y="2288"/>
                  </a:cubicBezTo>
                  <a:lnTo>
                    <a:pt x="45720" y="239306"/>
                  </a:lnTo>
                  <a:cubicBezTo>
                    <a:pt x="39119" y="257957"/>
                    <a:pt x="31277" y="272400"/>
                    <a:pt x="14443" y="274186"/>
                  </a:cubicBezTo>
                  <a:cubicBezTo>
                    <a:pt x="11445" y="274792"/>
                    <a:pt x="0" y="275397"/>
                    <a:pt x="0" y="275397"/>
                  </a:cubicBezTo>
                  <a:lnTo>
                    <a:pt x="0" y="277214"/>
                  </a:lnTo>
                  <a:cubicBezTo>
                    <a:pt x="0" y="277214"/>
                    <a:pt x="2422" y="280212"/>
                    <a:pt x="7206" y="280212"/>
                  </a:cubicBezTo>
                  <a:lnTo>
                    <a:pt x="78784" y="280212"/>
                  </a:lnTo>
                  <a:cubicBezTo>
                    <a:pt x="82387" y="280212"/>
                    <a:pt x="84204" y="277214"/>
                    <a:pt x="84204" y="277214"/>
                  </a:cubicBezTo>
                  <a:lnTo>
                    <a:pt x="84204" y="276003"/>
                  </a:lnTo>
                  <a:lnTo>
                    <a:pt x="76998" y="275397"/>
                  </a:lnTo>
                  <a:cubicBezTo>
                    <a:pt x="70367" y="275397"/>
                    <a:pt x="62555" y="271794"/>
                    <a:pt x="62555" y="264558"/>
                  </a:cubicBezTo>
                  <a:cubicBezTo>
                    <a:pt x="62555" y="257321"/>
                    <a:pt x="64341" y="248329"/>
                    <a:pt x="67975" y="239306"/>
                  </a:cubicBezTo>
                  <a:lnTo>
                    <a:pt x="92046" y="169515"/>
                  </a:lnTo>
                  <a:lnTo>
                    <a:pt x="176855" y="170120"/>
                  </a:lnTo>
                  <a:lnTo>
                    <a:pt x="212947" y="264558"/>
                  </a:lnTo>
                  <a:cubicBezTo>
                    <a:pt x="214733" y="270583"/>
                    <a:pt x="212947" y="273581"/>
                    <a:pt x="210525" y="274186"/>
                  </a:cubicBezTo>
                  <a:cubicBezTo>
                    <a:pt x="208708" y="274792"/>
                    <a:pt x="208133" y="275397"/>
                    <a:pt x="208133" y="277184"/>
                  </a:cubicBezTo>
                  <a:cubicBezTo>
                    <a:pt x="208133" y="279576"/>
                    <a:pt x="211736" y="280181"/>
                    <a:pt x="218972" y="280181"/>
                  </a:cubicBezTo>
                  <a:lnTo>
                    <a:pt x="277924" y="280181"/>
                  </a:lnTo>
                  <a:cubicBezTo>
                    <a:pt x="282133" y="280181"/>
                    <a:pt x="285130" y="277184"/>
                    <a:pt x="285130" y="277184"/>
                  </a:cubicBezTo>
                  <a:lnTo>
                    <a:pt x="285130" y="275367"/>
                  </a:lnTo>
                  <a:cubicBezTo>
                    <a:pt x="285130" y="275367"/>
                    <a:pt x="272504" y="274762"/>
                    <a:pt x="266479" y="272945"/>
                  </a:cubicBezTo>
                  <a:moveTo>
                    <a:pt x="95649" y="156253"/>
                  </a:moveTo>
                  <a:lnTo>
                    <a:pt x="133557" y="47373"/>
                  </a:lnTo>
                  <a:lnTo>
                    <a:pt x="172041" y="156253"/>
                  </a:lnTo>
                  <a:lnTo>
                    <a:pt x="95649" y="156253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DEDA47B-7ADD-F8DC-CEEA-18BC4ABAFA01}"/>
                </a:ext>
              </a:extLst>
            </p:cNvPr>
            <p:cNvSpPr/>
            <p:nvPr/>
          </p:nvSpPr>
          <p:spPr>
            <a:xfrm>
              <a:off x="450851" y="7519507"/>
              <a:ext cx="118813" cy="150376"/>
            </a:xfrm>
            <a:custGeom>
              <a:avLst/>
              <a:gdLst>
                <a:gd name="connsiteX0" fmla="*/ 7812 w 249038"/>
                <a:gd name="connsiteY0" fmla="*/ 315196 h 315195"/>
                <a:gd name="connsiteX1" fmla="*/ 2392 w 249038"/>
                <a:gd name="connsiteY1" fmla="*/ 311592 h 315195"/>
                <a:gd name="connsiteX2" fmla="*/ 2392 w 249038"/>
                <a:gd name="connsiteY2" fmla="*/ 309776 h 315195"/>
                <a:gd name="connsiteX3" fmla="*/ 16229 w 249038"/>
                <a:gd name="connsiteY3" fmla="*/ 307989 h 315195"/>
                <a:gd name="connsiteX4" fmla="*/ 30066 w 249038"/>
                <a:gd name="connsiteY4" fmla="*/ 287552 h 315195"/>
                <a:gd name="connsiteX5" fmla="*/ 31853 w 249038"/>
                <a:gd name="connsiteY5" fmla="*/ 208738 h 315195"/>
                <a:gd name="connsiteX6" fmla="*/ 31853 w 249038"/>
                <a:gd name="connsiteY6" fmla="*/ 144366 h 315195"/>
                <a:gd name="connsiteX7" fmla="*/ 30642 w 249038"/>
                <a:gd name="connsiteY7" fmla="*/ 27069 h 315195"/>
                <a:gd name="connsiteX8" fmla="*/ 15018 w 249038"/>
                <a:gd name="connsiteY8" fmla="*/ 6601 h 315195"/>
                <a:gd name="connsiteX9" fmla="*/ 2998 w 249038"/>
                <a:gd name="connsiteY9" fmla="*/ 5390 h 315195"/>
                <a:gd name="connsiteX10" fmla="*/ 0 w 249038"/>
                <a:gd name="connsiteY10" fmla="*/ 3603 h 315195"/>
                <a:gd name="connsiteX11" fmla="*/ 606 w 249038"/>
                <a:gd name="connsiteY11" fmla="*/ 0 h 315195"/>
                <a:gd name="connsiteX12" fmla="*/ 49323 w 249038"/>
                <a:gd name="connsiteY12" fmla="*/ 1786 h 315195"/>
                <a:gd name="connsiteX13" fmla="*/ 93832 w 249038"/>
                <a:gd name="connsiteY13" fmla="*/ 0 h 315195"/>
                <a:gd name="connsiteX14" fmla="*/ 93832 w 249038"/>
                <a:gd name="connsiteY14" fmla="*/ 3603 h 315195"/>
                <a:gd name="connsiteX15" fmla="*/ 91440 w 249038"/>
                <a:gd name="connsiteY15" fmla="*/ 5390 h 315195"/>
                <a:gd name="connsiteX16" fmla="*/ 79420 w 249038"/>
                <a:gd name="connsiteY16" fmla="*/ 6601 h 315195"/>
                <a:gd name="connsiteX17" fmla="*/ 64977 w 249038"/>
                <a:gd name="connsiteY17" fmla="*/ 27069 h 315195"/>
                <a:gd name="connsiteX18" fmla="*/ 64372 w 249038"/>
                <a:gd name="connsiteY18" fmla="*/ 144366 h 315195"/>
                <a:gd name="connsiteX19" fmla="*/ 64372 w 249038"/>
                <a:gd name="connsiteY19" fmla="*/ 209343 h 315195"/>
                <a:gd name="connsiteX20" fmla="*/ 72183 w 249038"/>
                <a:gd name="connsiteY20" fmla="*/ 289944 h 315195"/>
                <a:gd name="connsiteX21" fmla="*/ 161232 w 249038"/>
                <a:gd name="connsiteY21" fmla="*/ 299572 h 315195"/>
                <a:gd name="connsiteX22" fmla="*/ 174463 w 249038"/>
                <a:gd name="connsiteY22" fmla="*/ 299572 h 315195"/>
                <a:gd name="connsiteX23" fmla="*/ 233415 w 249038"/>
                <a:gd name="connsiteY23" fmla="*/ 281526 h 315195"/>
                <a:gd name="connsiteX24" fmla="*/ 241227 w 249038"/>
                <a:gd name="connsiteY24" fmla="*/ 262269 h 315195"/>
                <a:gd name="connsiteX25" fmla="*/ 244830 w 249038"/>
                <a:gd name="connsiteY25" fmla="*/ 256850 h 315195"/>
                <a:gd name="connsiteX26" fmla="*/ 249039 w 249038"/>
                <a:gd name="connsiteY26" fmla="*/ 256850 h 315195"/>
                <a:gd name="connsiteX27" fmla="*/ 240016 w 249038"/>
                <a:gd name="connsiteY27" fmla="*/ 306173 h 315195"/>
                <a:gd name="connsiteX28" fmla="*/ 228601 w 249038"/>
                <a:gd name="connsiteY28" fmla="*/ 315196 h 315195"/>
                <a:gd name="connsiteX29" fmla="*/ 7812 w 249038"/>
                <a:gd name="connsiteY29" fmla="*/ 315196 h 31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49038" h="315195">
                  <a:moveTo>
                    <a:pt x="7812" y="315196"/>
                  </a:moveTo>
                  <a:cubicBezTo>
                    <a:pt x="4209" y="315196"/>
                    <a:pt x="2392" y="311592"/>
                    <a:pt x="2392" y="311592"/>
                  </a:cubicBezTo>
                  <a:lnTo>
                    <a:pt x="2392" y="309776"/>
                  </a:lnTo>
                  <a:cubicBezTo>
                    <a:pt x="2392" y="309776"/>
                    <a:pt x="12626" y="308565"/>
                    <a:pt x="16229" y="307989"/>
                  </a:cubicBezTo>
                  <a:cubicBezTo>
                    <a:pt x="23435" y="306173"/>
                    <a:pt x="28250" y="297755"/>
                    <a:pt x="30066" y="287552"/>
                  </a:cubicBezTo>
                  <a:cubicBezTo>
                    <a:pt x="31853" y="271898"/>
                    <a:pt x="31853" y="243648"/>
                    <a:pt x="31853" y="208738"/>
                  </a:cubicBezTo>
                  <a:lnTo>
                    <a:pt x="31853" y="144366"/>
                  </a:lnTo>
                  <a:cubicBezTo>
                    <a:pt x="31853" y="87837"/>
                    <a:pt x="31853" y="39089"/>
                    <a:pt x="30642" y="27069"/>
                  </a:cubicBezTo>
                  <a:cubicBezTo>
                    <a:pt x="30036" y="15048"/>
                    <a:pt x="27038" y="9023"/>
                    <a:pt x="15018" y="6601"/>
                  </a:cubicBezTo>
                  <a:cubicBezTo>
                    <a:pt x="12626" y="5995"/>
                    <a:pt x="2998" y="5390"/>
                    <a:pt x="2998" y="5390"/>
                  </a:cubicBezTo>
                  <a:lnTo>
                    <a:pt x="0" y="3603"/>
                  </a:lnTo>
                  <a:lnTo>
                    <a:pt x="606" y="0"/>
                  </a:lnTo>
                  <a:cubicBezTo>
                    <a:pt x="606" y="0"/>
                    <a:pt x="47537" y="1786"/>
                    <a:pt x="49323" y="1786"/>
                  </a:cubicBezTo>
                  <a:cubicBezTo>
                    <a:pt x="51110" y="1786"/>
                    <a:pt x="93832" y="0"/>
                    <a:pt x="93832" y="0"/>
                  </a:cubicBezTo>
                  <a:lnTo>
                    <a:pt x="93832" y="3603"/>
                  </a:lnTo>
                  <a:lnTo>
                    <a:pt x="91440" y="5390"/>
                  </a:lnTo>
                  <a:cubicBezTo>
                    <a:pt x="91440" y="5390"/>
                    <a:pt x="83629" y="5995"/>
                    <a:pt x="79420" y="6601"/>
                  </a:cubicBezTo>
                  <a:cubicBezTo>
                    <a:pt x="68580" y="8417"/>
                    <a:pt x="65583" y="14412"/>
                    <a:pt x="64977" y="27069"/>
                  </a:cubicBezTo>
                  <a:cubicBezTo>
                    <a:pt x="64372" y="39089"/>
                    <a:pt x="64372" y="87837"/>
                    <a:pt x="64372" y="144366"/>
                  </a:cubicBezTo>
                  <a:lnTo>
                    <a:pt x="64372" y="209343"/>
                  </a:lnTo>
                  <a:cubicBezTo>
                    <a:pt x="64372" y="262875"/>
                    <a:pt x="66158" y="282737"/>
                    <a:pt x="72183" y="289944"/>
                  </a:cubicBezTo>
                  <a:cubicBezTo>
                    <a:pt x="78814" y="297150"/>
                    <a:pt x="119720" y="298966"/>
                    <a:pt x="161232" y="299572"/>
                  </a:cubicBezTo>
                  <a:lnTo>
                    <a:pt x="174463" y="299572"/>
                  </a:lnTo>
                  <a:cubicBezTo>
                    <a:pt x="215975" y="299572"/>
                    <a:pt x="225603" y="292366"/>
                    <a:pt x="233415" y="281526"/>
                  </a:cubicBezTo>
                  <a:cubicBezTo>
                    <a:pt x="237018" y="277318"/>
                    <a:pt x="240621" y="267689"/>
                    <a:pt x="241227" y="262269"/>
                  </a:cubicBezTo>
                  <a:cubicBezTo>
                    <a:pt x="242438" y="258666"/>
                    <a:pt x="244830" y="256850"/>
                    <a:pt x="244830" y="256850"/>
                  </a:cubicBezTo>
                  <a:lnTo>
                    <a:pt x="249039" y="256850"/>
                  </a:lnTo>
                  <a:cubicBezTo>
                    <a:pt x="249039" y="256850"/>
                    <a:pt x="242408" y="297150"/>
                    <a:pt x="240016" y="306173"/>
                  </a:cubicBezTo>
                  <a:cubicBezTo>
                    <a:pt x="238199" y="314620"/>
                    <a:pt x="237594" y="315196"/>
                    <a:pt x="228601" y="315196"/>
                  </a:cubicBezTo>
                  <a:lnTo>
                    <a:pt x="7812" y="315196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FB64DF5-5FED-489B-C797-8ECEFD04E6EF}"/>
                </a:ext>
              </a:extLst>
            </p:cNvPr>
            <p:cNvSpPr/>
            <p:nvPr/>
          </p:nvSpPr>
          <p:spPr>
            <a:xfrm>
              <a:off x="986082" y="7540467"/>
              <a:ext cx="135151" cy="129444"/>
            </a:xfrm>
            <a:custGeom>
              <a:avLst/>
              <a:gdLst>
                <a:gd name="connsiteX0" fmla="*/ 265904 w 283283"/>
                <a:gd name="connsiteY0" fmla="*/ 265267 h 271322"/>
                <a:gd name="connsiteX1" fmla="*/ 222000 w 283283"/>
                <a:gd name="connsiteY1" fmla="*/ 239409 h 271322"/>
                <a:gd name="connsiteX2" fmla="*/ 147395 w 283283"/>
                <a:gd name="connsiteY2" fmla="*/ 147364 h 271322"/>
                <a:gd name="connsiteX3" fmla="*/ 191298 w 283283"/>
                <a:gd name="connsiteY3" fmla="*/ 64341 h 271322"/>
                <a:gd name="connsiteX4" fmla="*/ 166046 w 283283"/>
                <a:gd name="connsiteY4" fmla="*/ 15624 h 271322"/>
                <a:gd name="connsiteX5" fmla="*/ 88443 w 283283"/>
                <a:gd name="connsiteY5" fmla="*/ 0 h 271322"/>
                <a:gd name="connsiteX6" fmla="*/ 46326 w 283283"/>
                <a:gd name="connsiteY6" fmla="*/ 606 h 271322"/>
                <a:gd name="connsiteX7" fmla="*/ 0 w 283283"/>
                <a:gd name="connsiteY7" fmla="*/ 0 h 271322"/>
                <a:gd name="connsiteX8" fmla="*/ 0 w 283283"/>
                <a:gd name="connsiteY8" fmla="*/ 2392 h 271322"/>
                <a:gd name="connsiteX9" fmla="*/ 2998 w 283283"/>
                <a:gd name="connsiteY9" fmla="*/ 4814 h 271322"/>
                <a:gd name="connsiteX10" fmla="*/ 15018 w 283283"/>
                <a:gd name="connsiteY10" fmla="*/ 6025 h 271322"/>
                <a:gd name="connsiteX11" fmla="*/ 30642 w 283283"/>
                <a:gd name="connsiteY11" fmla="*/ 26463 h 271322"/>
                <a:gd name="connsiteX12" fmla="*/ 31247 w 283283"/>
                <a:gd name="connsiteY12" fmla="*/ 104066 h 271322"/>
                <a:gd name="connsiteX13" fmla="*/ 31247 w 283283"/>
                <a:gd name="connsiteY13" fmla="*/ 167226 h 271322"/>
                <a:gd name="connsiteX14" fmla="*/ 29430 w 283283"/>
                <a:gd name="connsiteY14" fmla="*/ 245435 h 271322"/>
                <a:gd name="connsiteX15" fmla="*/ 18591 w 283283"/>
                <a:gd name="connsiteY15" fmla="*/ 265297 h 271322"/>
                <a:gd name="connsiteX16" fmla="*/ 5359 w 283283"/>
                <a:gd name="connsiteY16" fmla="*/ 266508 h 271322"/>
                <a:gd name="connsiteX17" fmla="*/ 5359 w 283283"/>
                <a:gd name="connsiteY17" fmla="*/ 268900 h 271322"/>
                <a:gd name="connsiteX18" fmla="*/ 10779 w 283283"/>
                <a:gd name="connsiteY18" fmla="*/ 271322 h 271322"/>
                <a:gd name="connsiteX19" fmla="*/ 88988 w 283283"/>
                <a:gd name="connsiteY19" fmla="*/ 271322 h 271322"/>
                <a:gd name="connsiteX20" fmla="*/ 94408 w 283283"/>
                <a:gd name="connsiteY20" fmla="*/ 268900 h 271322"/>
                <a:gd name="connsiteX21" fmla="*/ 93802 w 283283"/>
                <a:gd name="connsiteY21" fmla="*/ 266508 h 271322"/>
                <a:gd name="connsiteX22" fmla="*/ 75756 w 283283"/>
                <a:gd name="connsiteY22" fmla="*/ 265297 h 271322"/>
                <a:gd name="connsiteX23" fmla="*/ 61313 w 283283"/>
                <a:gd name="connsiteY23" fmla="*/ 245435 h 271322"/>
                <a:gd name="connsiteX24" fmla="*/ 60102 w 283283"/>
                <a:gd name="connsiteY24" fmla="*/ 167226 h 271322"/>
                <a:gd name="connsiteX25" fmla="*/ 60102 w 283283"/>
                <a:gd name="connsiteY25" fmla="*/ 158809 h 271322"/>
                <a:gd name="connsiteX26" fmla="*/ 62525 w 283283"/>
                <a:gd name="connsiteY26" fmla="*/ 155811 h 271322"/>
                <a:gd name="connsiteX27" fmla="*/ 118449 w 283283"/>
                <a:gd name="connsiteY27" fmla="*/ 156417 h 271322"/>
                <a:gd name="connsiteX28" fmla="*/ 123263 w 283283"/>
                <a:gd name="connsiteY28" fmla="*/ 158839 h 271322"/>
                <a:gd name="connsiteX29" fmla="*/ 162382 w 283283"/>
                <a:gd name="connsiteY29" fmla="*/ 211765 h 271322"/>
                <a:gd name="connsiteX30" fmla="*/ 210495 w 283283"/>
                <a:gd name="connsiteY30" fmla="*/ 264692 h 271322"/>
                <a:gd name="connsiteX31" fmla="*/ 249009 w 283283"/>
                <a:gd name="connsiteY31" fmla="*/ 271322 h 271322"/>
                <a:gd name="connsiteX32" fmla="*/ 274866 w 283283"/>
                <a:gd name="connsiteY32" fmla="*/ 271322 h 271322"/>
                <a:gd name="connsiteX33" fmla="*/ 283283 w 283283"/>
                <a:gd name="connsiteY33" fmla="*/ 268900 h 271322"/>
                <a:gd name="connsiteX34" fmla="*/ 281467 w 283283"/>
                <a:gd name="connsiteY34" fmla="*/ 266508 h 271322"/>
                <a:gd name="connsiteX35" fmla="*/ 265843 w 283283"/>
                <a:gd name="connsiteY35" fmla="*/ 265297 h 271322"/>
                <a:gd name="connsiteX36" fmla="*/ 138917 w 283283"/>
                <a:gd name="connsiteY36" fmla="*/ 138371 h 271322"/>
                <a:gd name="connsiteX37" fmla="*/ 99827 w 283283"/>
                <a:gd name="connsiteY37" fmla="*/ 145577 h 271322"/>
                <a:gd name="connsiteX38" fmla="*/ 62525 w 283283"/>
                <a:gd name="connsiteY38" fmla="*/ 139552 h 271322"/>
                <a:gd name="connsiteX39" fmla="*/ 60102 w 283283"/>
                <a:gd name="connsiteY39" fmla="*/ 135343 h 271322"/>
                <a:gd name="connsiteX40" fmla="*/ 60102 w 283283"/>
                <a:gd name="connsiteY40" fmla="*/ 17410 h 271322"/>
                <a:gd name="connsiteX41" fmla="*/ 62525 w 283283"/>
                <a:gd name="connsiteY41" fmla="*/ 13201 h 271322"/>
                <a:gd name="connsiteX42" fmla="*/ 86596 w 283283"/>
                <a:gd name="connsiteY42" fmla="*/ 11385 h 271322"/>
                <a:gd name="connsiteX43" fmla="*/ 160596 w 283283"/>
                <a:gd name="connsiteY43" fmla="*/ 82962 h 271322"/>
                <a:gd name="connsiteX44" fmla="*/ 138947 w 283283"/>
                <a:gd name="connsiteY44" fmla="*/ 138311 h 27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83283" h="271322">
                  <a:moveTo>
                    <a:pt x="265904" y="265267"/>
                  </a:moveTo>
                  <a:cubicBezTo>
                    <a:pt x="256881" y="264056"/>
                    <a:pt x="241833" y="259847"/>
                    <a:pt x="222000" y="239409"/>
                  </a:cubicBezTo>
                  <a:cubicBezTo>
                    <a:pt x="201562" y="217155"/>
                    <a:pt x="176886" y="185272"/>
                    <a:pt x="147395" y="147364"/>
                  </a:cubicBezTo>
                  <a:cubicBezTo>
                    <a:pt x="179883" y="117873"/>
                    <a:pt x="191298" y="90834"/>
                    <a:pt x="191298" y="64341"/>
                  </a:cubicBezTo>
                  <a:cubicBezTo>
                    <a:pt x="191298" y="39664"/>
                    <a:pt x="175039" y="22224"/>
                    <a:pt x="166046" y="15624"/>
                  </a:cubicBezTo>
                  <a:cubicBezTo>
                    <a:pt x="147395" y="1786"/>
                    <a:pt x="111303" y="0"/>
                    <a:pt x="88443" y="0"/>
                  </a:cubicBezTo>
                  <a:cubicBezTo>
                    <a:pt x="77603" y="0"/>
                    <a:pt x="49929" y="606"/>
                    <a:pt x="46326" y="606"/>
                  </a:cubicBezTo>
                  <a:cubicBezTo>
                    <a:pt x="44539" y="606"/>
                    <a:pt x="0" y="0"/>
                    <a:pt x="0" y="0"/>
                  </a:cubicBezTo>
                  <a:lnTo>
                    <a:pt x="0" y="2392"/>
                  </a:lnTo>
                  <a:cubicBezTo>
                    <a:pt x="0" y="2392"/>
                    <a:pt x="1211" y="4814"/>
                    <a:pt x="2998" y="4814"/>
                  </a:cubicBezTo>
                  <a:cubicBezTo>
                    <a:pt x="5995" y="4814"/>
                    <a:pt x="12020" y="5420"/>
                    <a:pt x="15018" y="6025"/>
                  </a:cubicBezTo>
                  <a:cubicBezTo>
                    <a:pt x="27039" y="8448"/>
                    <a:pt x="29461" y="13837"/>
                    <a:pt x="30642" y="26463"/>
                  </a:cubicBezTo>
                  <a:cubicBezTo>
                    <a:pt x="31247" y="37908"/>
                    <a:pt x="31247" y="48112"/>
                    <a:pt x="31247" y="104066"/>
                  </a:cubicBezTo>
                  <a:lnTo>
                    <a:pt x="31247" y="167226"/>
                  </a:lnTo>
                  <a:cubicBezTo>
                    <a:pt x="31247" y="202107"/>
                    <a:pt x="31247" y="230386"/>
                    <a:pt x="29430" y="245435"/>
                  </a:cubicBezTo>
                  <a:cubicBezTo>
                    <a:pt x="27644" y="255669"/>
                    <a:pt x="25827" y="263480"/>
                    <a:pt x="18591" y="265297"/>
                  </a:cubicBezTo>
                  <a:cubicBezTo>
                    <a:pt x="15593" y="265903"/>
                    <a:pt x="5359" y="266508"/>
                    <a:pt x="5359" y="266508"/>
                  </a:cubicBezTo>
                  <a:lnTo>
                    <a:pt x="5359" y="268900"/>
                  </a:lnTo>
                  <a:cubicBezTo>
                    <a:pt x="5359" y="268900"/>
                    <a:pt x="7146" y="271322"/>
                    <a:pt x="10779" y="271322"/>
                  </a:cubicBezTo>
                  <a:lnTo>
                    <a:pt x="88988" y="271322"/>
                  </a:lnTo>
                  <a:cubicBezTo>
                    <a:pt x="92591" y="271322"/>
                    <a:pt x="94408" y="268900"/>
                    <a:pt x="94408" y="268900"/>
                  </a:cubicBezTo>
                  <a:lnTo>
                    <a:pt x="93802" y="266508"/>
                  </a:lnTo>
                  <a:cubicBezTo>
                    <a:pt x="93802" y="266508"/>
                    <a:pt x="80571" y="265903"/>
                    <a:pt x="75756" y="265297"/>
                  </a:cubicBezTo>
                  <a:cubicBezTo>
                    <a:pt x="64917" y="263480"/>
                    <a:pt x="62525" y="255669"/>
                    <a:pt x="61313" y="245435"/>
                  </a:cubicBezTo>
                  <a:cubicBezTo>
                    <a:pt x="60102" y="230386"/>
                    <a:pt x="60102" y="202137"/>
                    <a:pt x="60102" y="167226"/>
                  </a:cubicBezTo>
                  <a:lnTo>
                    <a:pt x="60102" y="158809"/>
                  </a:lnTo>
                  <a:cubicBezTo>
                    <a:pt x="60102" y="156992"/>
                    <a:pt x="60708" y="155811"/>
                    <a:pt x="62525" y="155811"/>
                  </a:cubicBezTo>
                  <a:lnTo>
                    <a:pt x="118449" y="156417"/>
                  </a:lnTo>
                  <a:cubicBezTo>
                    <a:pt x="120871" y="156417"/>
                    <a:pt x="121446" y="157022"/>
                    <a:pt x="123263" y="158839"/>
                  </a:cubicBezTo>
                  <a:cubicBezTo>
                    <a:pt x="130499" y="167862"/>
                    <a:pt x="147334" y="191933"/>
                    <a:pt x="162382" y="211765"/>
                  </a:cubicBezTo>
                  <a:cubicBezTo>
                    <a:pt x="182820" y="238834"/>
                    <a:pt x="195476" y="256274"/>
                    <a:pt x="210495" y="264692"/>
                  </a:cubicBezTo>
                  <a:cubicBezTo>
                    <a:pt x="220123" y="269506"/>
                    <a:pt x="229146" y="271322"/>
                    <a:pt x="249009" y="271322"/>
                  </a:cubicBezTo>
                  <a:lnTo>
                    <a:pt x="274866" y="271322"/>
                  </a:lnTo>
                  <a:cubicBezTo>
                    <a:pt x="280892" y="271322"/>
                    <a:pt x="283283" y="268900"/>
                    <a:pt x="283283" y="268900"/>
                  </a:cubicBezTo>
                  <a:lnTo>
                    <a:pt x="281467" y="266508"/>
                  </a:lnTo>
                  <a:cubicBezTo>
                    <a:pt x="281467" y="266508"/>
                    <a:pt x="273049" y="266508"/>
                    <a:pt x="265843" y="265297"/>
                  </a:cubicBezTo>
                  <a:moveTo>
                    <a:pt x="138917" y="138371"/>
                  </a:moveTo>
                  <a:cubicBezTo>
                    <a:pt x="130499" y="144396"/>
                    <a:pt x="108820" y="145577"/>
                    <a:pt x="99827" y="145577"/>
                  </a:cubicBezTo>
                  <a:cubicBezTo>
                    <a:pt x="84174" y="145577"/>
                    <a:pt x="67944" y="142580"/>
                    <a:pt x="62525" y="139552"/>
                  </a:cubicBezTo>
                  <a:cubicBezTo>
                    <a:pt x="60708" y="138341"/>
                    <a:pt x="60102" y="137130"/>
                    <a:pt x="60102" y="135343"/>
                  </a:cubicBezTo>
                  <a:lnTo>
                    <a:pt x="60102" y="17410"/>
                  </a:lnTo>
                  <a:cubicBezTo>
                    <a:pt x="60102" y="15593"/>
                    <a:pt x="60708" y="13807"/>
                    <a:pt x="62525" y="13201"/>
                  </a:cubicBezTo>
                  <a:cubicBezTo>
                    <a:pt x="66128" y="11990"/>
                    <a:pt x="75756" y="11385"/>
                    <a:pt x="86596" y="11385"/>
                  </a:cubicBezTo>
                  <a:cubicBezTo>
                    <a:pt x="125110" y="11385"/>
                    <a:pt x="160596" y="38453"/>
                    <a:pt x="160596" y="82962"/>
                  </a:cubicBezTo>
                  <a:cubicBezTo>
                    <a:pt x="160596" y="110636"/>
                    <a:pt x="151573" y="129893"/>
                    <a:pt x="138947" y="138311"/>
                  </a:cubicBezTo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F497D96-0DF4-9AF6-0424-D09BAA019A83}"/>
                </a:ext>
              </a:extLst>
            </p:cNvPr>
            <p:cNvSpPr/>
            <p:nvPr/>
          </p:nvSpPr>
          <p:spPr>
            <a:xfrm>
              <a:off x="1132731" y="7540163"/>
              <a:ext cx="119978" cy="129762"/>
            </a:xfrm>
            <a:custGeom>
              <a:avLst/>
              <a:gdLst>
                <a:gd name="connsiteX0" fmla="*/ 108305 w 251479"/>
                <a:gd name="connsiteY0" fmla="*/ 271898 h 271988"/>
                <a:gd name="connsiteX1" fmla="*/ 215975 w 251479"/>
                <a:gd name="connsiteY1" fmla="*/ 229781 h 271988"/>
                <a:gd name="connsiteX2" fmla="*/ 226209 w 251479"/>
                <a:gd name="connsiteY2" fmla="*/ 215944 h 271988"/>
                <a:gd name="connsiteX3" fmla="*/ 239440 w 251479"/>
                <a:gd name="connsiteY3" fmla="*/ 191873 h 271988"/>
                <a:gd name="connsiteX4" fmla="*/ 217791 w 251479"/>
                <a:gd name="connsiteY4" fmla="*/ 39089 h 271988"/>
                <a:gd name="connsiteX5" fmla="*/ 108305 w 251479"/>
                <a:gd name="connsiteY5" fmla="*/ 606 h 271988"/>
                <a:gd name="connsiteX6" fmla="*/ 0 w 251479"/>
                <a:gd name="connsiteY6" fmla="*/ 0 h 271988"/>
                <a:gd name="connsiteX7" fmla="*/ 0 w 251479"/>
                <a:gd name="connsiteY7" fmla="*/ 3603 h 271988"/>
                <a:gd name="connsiteX8" fmla="*/ 2422 w 251479"/>
                <a:gd name="connsiteY8" fmla="*/ 5420 h 271988"/>
                <a:gd name="connsiteX9" fmla="*/ 7236 w 251479"/>
                <a:gd name="connsiteY9" fmla="*/ 6025 h 271988"/>
                <a:gd name="connsiteX10" fmla="*/ 7812 w 251479"/>
                <a:gd name="connsiteY10" fmla="*/ 6025 h 271988"/>
                <a:gd name="connsiteX11" fmla="*/ 18046 w 251479"/>
                <a:gd name="connsiteY11" fmla="*/ 6631 h 271988"/>
                <a:gd name="connsiteX12" fmla="*/ 21043 w 251479"/>
                <a:gd name="connsiteY12" fmla="*/ 7842 h 271988"/>
                <a:gd name="connsiteX13" fmla="*/ 22255 w 251479"/>
                <a:gd name="connsiteY13" fmla="*/ 7842 h 271988"/>
                <a:gd name="connsiteX14" fmla="*/ 25252 w 251479"/>
                <a:gd name="connsiteY14" fmla="*/ 9053 h 271988"/>
                <a:gd name="connsiteX15" fmla="*/ 27644 w 251479"/>
                <a:gd name="connsiteY15" fmla="*/ 10870 h 271988"/>
                <a:gd name="connsiteX16" fmla="*/ 29461 w 251479"/>
                <a:gd name="connsiteY16" fmla="*/ 12687 h 271988"/>
                <a:gd name="connsiteX17" fmla="*/ 30066 w 251479"/>
                <a:gd name="connsiteY17" fmla="*/ 13292 h 271988"/>
                <a:gd name="connsiteX18" fmla="*/ 30066 w 251479"/>
                <a:gd name="connsiteY18" fmla="*/ 14503 h 271988"/>
                <a:gd name="connsiteX19" fmla="*/ 33064 w 251479"/>
                <a:gd name="connsiteY19" fmla="*/ 27129 h 271988"/>
                <a:gd name="connsiteX20" fmla="*/ 33669 w 251479"/>
                <a:gd name="connsiteY20" fmla="*/ 104732 h 271988"/>
                <a:gd name="connsiteX21" fmla="*/ 33669 w 251479"/>
                <a:gd name="connsiteY21" fmla="*/ 167892 h 271988"/>
                <a:gd name="connsiteX22" fmla="*/ 33064 w 251479"/>
                <a:gd name="connsiteY22" fmla="*/ 244890 h 271988"/>
                <a:gd name="connsiteX23" fmla="*/ 30066 w 251479"/>
                <a:gd name="connsiteY23" fmla="*/ 258121 h 271988"/>
                <a:gd name="connsiteX24" fmla="*/ 30066 w 251479"/>
                <a:gd name="connsiteY24" fmla="*/ 258727 h 271988"/>
                <a:gd name="connsiteX25" fmla="*/ 29461 w 251479"/>
                <a:gd name="connsiteY25" fmla="*/ 259332 h 271988"/>
                <a:gd name="connsiteX26" fmla="*/ 27644 w 251479"/>
                <a:gd name="connsiteY26" fmla="*/ 261149 h 271988"/>
                <a:gd name="connsiteX27" fmla="*/ 25252 w 251479"/>
                <a:gd name="connsiteY27" fmla="*/ 262935 h 271988"/>
                <a:gd name="connsiteX28" fmla="*/ 22255 w 251479"/>
                <a:gd name="connsiteY28" fmla="*/ 264752 h 271988"/>
                <a:gd name="connsiteX29" fmla="*/ 21043 w 251479"/>
                <a:gd name="connsiteY29" fmla="*/ 264752 h 271988"/>
                <a:gd name="connsiteX30" fmla="*/ 18046 w 251479"/>
                <a:gd name="connsiteY30" fmla="*/ 265358 h 271988"/>
                <a:gd name="connsiteX31" fmla="*/ 7812 w 251479"/>
                <a:gd name="connsiteY31" fmla="*/ 266569 h 271988"/>
                <a:gd name="connsiteX32" fmla="*/ 2998 w 251479"/>
                <a:gd name="connsiteY32" fmla="*/ 266569 h 271988"/>
                <a:gd name="connsiteX33" fmla="*/ 1211 w 251479"/>
                <a:gd name="connsiteY33" fmla="*/ 268991 h 271988"/>
                <a:gd name="connsiteX34" fmla="*/ 1211 w 251479"/>
                <a:gd name="connsiteY34" fmla="*/ 271989 h 271988"/>
                <a:gd name="connsiteX35" fmla="*/ 108275 w 251479"/>
                <a:gd name="connsiteY35" fmla="*/ 271989 h 271988"/>
                <a:gd name="connsiteX36" fmla="*/ 116723 w 251479"/>
                <a:gd name="connsiteY36" fmla="*/ 259272 h 271988"/>
                <a:gd name="connsiteX37" fmla="*/ 72819 w 251479"/>
                <a:gd name="connsiteY37" fmla="*/ 258061 h 271988"/>
                <a:gd name="connsiteX38" fmla="*/ 64402 w 251479"/>
                <a:gd name="connsiteY38" fmla="*/ 255669 h 271988"/>
                <a:gd name="connsiteX39" fmla="*/ 62585 w 251479"/>
                <a:gd name="connsiteY39" fmla="*/ 249643 h 271988"/>
                <a:gd name="connsiteX40" fmla="*/ 61980 w 251479"/>
                <a:gd name="connsiteY40" fmla="*/ 173252 h 271988"/>
                <a:gd name="connsiteX41" fmla="*/ 61980 w 251479"/>
                <a:gd name="connsiteY41" fmla="*/ 98676 h 271988"/>
                <a:gd name="connsiteX42" fmla="*/ 62585 w 251479"/>
                <a:gd name="connsiteY42" fmla="*/ 22890 h 271988"/>
                <a:gd name="connsiteX43" fmla="*/ 64402 w 251479"/>
                <a:gd name="connsiteY43" fmla="*/ 16865 h 271988"/>
                <a:gd name="connsiteX44" fmla="*/ 72819 w 251479"/>
                <a:gd name="connsiteY44" fmla="*/ 13867 h 271988"/>
                <a:gd name="connsiteX45" fmla="*/ 89654 w 251479"/>
                <a:gd name="connsiteY45" fmla="*/ 12656 h 271988"/>
                <a:gd name="connsiteX46" fmla="*/ 115512 w 251479"/>
                <a:gd name="connsiteY46" fmla="*/ 13262 h 271988"/>
                <a:gd name="connsiteX47" fmla="*/ 138372 w 251479"/>
                <a:gd name="connsiteY47" fmla="*/ 18076 h 271988"/>
                <a:gd name="connsiteX48" fmla="*/ 160051 w 251479"/>
                <a:gd name="connsiteY48" fmla="*/ 27705 h 271988"/>
                <a:gd name="connsiteX49" fmla="*/ 220789 w 251479"/>
                <a:gd name="connsiteY49" fmla="*/ 137796 h 271988"/>
                <a:gd name="connsiteX50" fmla="*/ 172071 w 251479"/>
                <a:gd name="connsiteY50" fmla="*/ 243648 h 271988"/>
                <a:gd name="connsiteX51" fmla="*/ 116723 w 251479"/>
                <a:gd name="connsiteY51" fmla="*/ 259272 h 271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51479" h="271988">
                  <a:moveTo>
                    <a:pt x="108305" y="271898"/>
                  </a:moveTo>
                  <a:cubicBezTo>
                    <a:pt x="152209" y="271898"/>
                    <a:pt x="184092" y="262269"/>
                    <a:pt x="215975" y="229781"/>
                  </a:cubicBezTo>
                  <a:cubicBezTo>
                    <a:pt x="219578" y="226178"/>
                    <a:pt x="223181" y="221364"/>
                    <a:pt x="226209" y="215944"/>
                  </a:cubicBezTo>
                  <a:cubicBezTo>
                    <a:pt x="226209" y="215944"/>
                    <a:pt x="235837" y="200896"/>
                    <a:pt x="239440" y="191873"/>
                  </a:cubicBezTo>
                  <a:cubicBezTo>
                    <a:pt x="272535" y="107669"/>
                    <a:pt x="227995" y="49323"/>
                    <a:pt x="217791" y="39089"/>
                  </a:cubicBezTo>
                  <a:cubicBezTo>
                    <a:pt x="182911" y="5390"/>
                    <a:pt x="145003" y="1786"/>
                    <a:pt x="108305" y="606"/>
                  </a:cubicBezTo>
                  <a:cubicBezTo>
                    <a:pt x="106489" y="606"/>
                    <a:pt x="0" y="0"/>
                    <a:pt x="0" y="0"/>
                  </a:cubicBezTo>
                  <a:lnTo>
                    <a:pt x="0" y="3603"/>
                  </a:lnTo>
                  <a:cubicBezTo>
                    <a:pt x="0" y="3603"/>
                    <a:pt x="1211" y="5420"/>
                    <a:pt x="2422" y="5420"/>
                  </a:cubicBezTo>
                  <a:cubicBezTo>
                    <a:pt x="3633" y="5420"/>
                    <a:pt x="4814" y="5420"/>
                    <a:pt x="7236" y="6025"/>
                  </a:cubicBezTo>
                  <a:lnTo>
                    <a:pt x="7812" y="6025"/>
                  </a:lnTo>
                  <a:cubicBezTo>
                    <a:pt x="12020" y="6025"/>
                    <a:pt x="16229" y="6025"/>
                    <a:pt x="18046" y="6631"/>
                  </a:cubicBezTo>
                  <a:cubicBezTo>
                    <a:pt x="19257" y="7236"/>
                    <a:pt x="20438" y="7236"/>
                    <a:pt x="21043" y="7842"/>
                  </a:cubicBezTo>
                  <a:lnTo>
                    <a:pt x="22255" y="7842"/>
                  </a:lnTo>
                  <a:cubicBezTo>
                    <a:pt x="23435" y="8448"/>
                    <a:pt x="24041" y="8448"/>
                    <a:pt x="25252" y="9053"/>
                  </a:cubicBezTo>
                  <a:cubicBezTo>
                    <a:pt x="26463" y="9659"/>
                    <a:pt x="27038" y="10264"/>
                    <a:pt x="27644" y="10870"/>
                  </a:cubicBezTo>
                  <a:cubicBezTo>
                    <a:pt x="28250" y="11475"/>
                    <a:pt x="28855" y="12081"/>
                    <a:pt x="29461" y="12687"/>
                  </a:cubicBezTo>
                  <a:lnTo>
                    <a:pt x="30066" y="13292"/>
                  </a:lnTo>
                  <a:lnTo>
                    <a:pt x="30066" y="14503"/>
                  </a:lnTo>
                  <a:cubicBezTo>
                    <a:pt x="32458" y="17501"/>
                    <a:pt x="33064" y="21740"/>
                    <a:pt x="33064" y="27129"/>
                  </a:cubicBezTo>
                  <a:cubicBezTo>
                    <a:pt x="33669" y="38574"/>
                    <a:pt x="33669" y="48778"/>
                    <a:pt x="33669" y="104732"/>
                  </a:cubicBezTo>
                  <a:lnTo>
                    <a:pt x="33669" y="167892"/>
                  </a:lnTo>
                  <a:cubicBezTo>
                    <a:pt x="33669" y="223241"/>
                    <a:pt x="33669" y="233445"/>
                    <a:pt x="33064" y="244890"/>
                  </a:cubicBezTo>
                  <a:cubicBezTo>
                    <a:pt x="33064" y="250915"/>
                    <a:pt x="32458" y="255124"/>
                    <a:pt x="30066" y="258121"/>
                  </a:cubicBezTo>
                  <a:lnTo>
                    <a:pt x="30066" y="258727"/>
                  </a:lnTo>
                  <a:cubicBezTo>
                    <a:pt x="30066" y="259332"/>
                    <a:pt x="29461" y="259332"/>
                    <a:pt x="29461" y="259332"/>
                  </a:cubicBezTo>
                  <a:cubicBezTo>
                    <a:pt x="28855" y="259938"/>
                    <a:pt x="28250" y="260543"/>
                    <a:pt x="27644" y="261149"/>
                  </a:cubicBezTo>
                  <a:cubicBezTo>
                    <a:pt x="27038" y="261755"/>
                    <a:pt x="26433" y="262360"/>
                    <a:pt x="25252" y="262935"/>
                  </a:cubicBezTo>
                  <a:cubicBezTo>
                    <a:pt x="24041" y="263541"/>
                    <a:pt x="23435" y="264147"/>
                    <a:pt x="22255" y="264752"/>
                  </a:cubicBezTo>
                  <a:lnTo>
                    <a:pt x="21043" y="264752"/>
                  </a:lnTo>
                  <a:cubicBezTo>
                    <a:pt x="20438" y="265358"/>
                    <a:pt x="19257" y="265358"/>
                    <a:pt x="18046" y="265358"/>
                  </a:cubicBezTo>
                  <a:cubicBezTo>
                    <a:pt x="16229" y="265963"/>
                    <a:pt x="12020" y="266569"/>
                    <a:pt x="7812" y="266569"/>
                  </a:cubicBezTo>
                  <a:lnTo>
                    <a:pt x="2998" y="266569"/>
                  </a:lnTo>
                  <a:cubicBezTo>
                    <a:pt x="1786" y="266569"/>
                    <a:pt x="1211" y="268991"/>
                    <a:pt x="1211" y="268991"/>
                  </a:cubicBezTo>
                  <a:lnTo>
                    <a:pt x="1211" y="271989"/>
                  </a:lnTo>
                  <a:lnTo>
                    <a:pt x="108275" y="271989"/>
                  </a:lnTo>
                  <a:close/>
                  <a:moveTo>
                    <a:pt x="116723" y="259272"/>
                  </a:moveTo>
                  <a:cubicBezTo>
                    <a:pt x="100494" y="260483"/>
                    <a:pt x="77633" y="258666"/>
                    <a:pt x="72819" y="258061"/>
                  </a:cubicBezTo>
                  <a:lnTo>
                    <a:pt x="64402" y="255669"/>
                  </a:lnTo>
                  <a:cubicBezTo>
                    <a:pt x="63191" y="253852"/>
                    <a:pt x="62585" y="252671"/>
                    <a:pt x="62585" y="249643"/>
                  </a:cubicBezTo>
                  <a:cubicBezTo>
                    <a:pt x="61980" y="237623"/>
                    <a:pt x="61980" y="200926"/>
                    <a:pt x="61980" y="173252"/>
                  </a:cubicBezTo>
                  <a:lnTo>
                    <a:pt x="61980" y="98676"/>
                  </a:lnTo>
                  <a:cubicBezTo>
                    <a:pt x="61980" y="71608"/>
                    <a:pt x="61980" y="34911"/>
                    <a:pt x="62585" y="22890"/>
                  </a:cubicBezTo>
                  <a:cubicBezTo>
                    <a:pt x="62585" y="19893"/>
                    <a:pt x="63191" y="18076"/>
                    <a:pt x="64402" y="16865"/>
                  </a:cubicBezTo>
                  <a:lnTo>
                    <a:pt x="72819" y="13867"/>
                  </a:lnTo>
                  <a:cubicBezTo>
                    <a:pt x="77633" y="13262"/>
                    <a:pt x="89048" y="12656"/>
                    <a:pt x="89654" y="12656"/>
                  </a:cubicBezTo>
                  <a:cubicBezTo>
                    <a:pt x="98677" y="12051"/>
                    <a:pt x="105277" y="12051"/>
                    <a:pt x="115512" y="13262"/>
                  </a:cubicBezTo>
                  <a:cubicBezTo>
                    <a:pt x="129349" y="15079"/>
                    <a:pt x="138372" y="18076"/>
                    <a:pt x="138372" y="18076"/>
                  </a:cubicBezTo>
                  <a:cubicBezTo>
                    <a:pt x="148000" y="21074"/>
                    <a:pt x="152209" y="22890"/>
                    <a:pt x="160051" y="27705"/>
                  </a:cubicBezTo>
                  <a:cubicBezTo>
                    <a:pt x="196748" y="48748"/>
                    <a:pt x="220789" y="81236"/>
                    <a:pt x="220789" y="137796"/>
                  </a:cubicBezTo>
                  <a:cubicBezTo>
                    <a:pt x="221395" y="186513"/>
                    <a:pt x="206346" y="223816"/>
                    <a:pt x="172071" y="243648"/>
                  </a:cubicBezTo>
                  <a:cubicBezTo>
                    <a:pt x="155842" y="253277"/>
                    <a:pt x="141399" y="258091"/>
                    <a:pt x="116723" y="259272"/>
                  </a:cubicBezTo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GB" noProof="0" dirty="0"/>
            </a:lvl1pPr>
          </a:lstStyle>
          <a:p>
            <a:pPr lvl="0"/>
            <a:r>
              <a:rPr lang="en-US" noProof="0"/>
              <a:t>Disclaimer</a:t>
            </a:r>
          </a:p>
        </p:txBody>
      </p:sp>
      <p:sp>
        <p:nvSpPr>
          <p:cNvPr id="3" name="Client Name/Presentation Title">
            <a:extLst>
              <a:ext uri="{FF2B5EF4-FFF2-40B4-BE49-F238E27FC236}">
                <a16:creationId xmlns:a16="http://schemas.microsoft.com/office/drawing/2014/main" id="{190AC87D-EC21-4604-B49D-55B5BF9C4C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46700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 algn="r">
              <a:defRPr lang="en-US" smtClean="0"/>
            </a:lvl1pPr>
          </a:lstStyle>
          <a:p>
            <a:r>
              <a:rPr lang="en-US" noProof="0"/>
              <a:t>Lazard RHQ Governance Framework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B54CD8-445B-4BE8-B476-CA6F851A9B94}"/>
              </a:ext>
            </a:extLst>
          </p:cNvPr>
          <p:cNvSpPr/>
          <p:nvPr userDrawn="1"/>
        </p:nvSpPr>
        <p:spPr>
          <a:xfrm>
            <a:off x="10184477" y="6971877"/>
            <a:ext cx="45719" cy="201506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900" b="1" err="1">
              <a:solidFill>
                <a:srgbClr val="000000"/>
              </a:solidFill>
              <a:latin typeface="Aptos Narrow" panose="020B0606020202030204" pitchFamily="34" charset="0"/>
            </a:endParaRPr>
          </a:p>
        </p:txBody>
      </p:sp>
      <p:sp>
        <p:nvSpPr>
          <p:cNvPr id="6" name="Confidential Stamp">
            <a:extLst>
              <a:ext uri="{FF2B5EF4-FFF2-40B4-BE49-F238E27FC236}">
                <a16:creationId xmlns:a16="http://schemas.microsoft.com/office/drawing/2014/main" id="{6A9B2437-0946-45F9-9AF0-4CC17ACE8C4B}"/>
              </a:ext>
            </a:extLst>
          </p:cNvPr>
          <p:cNvSpPr txBox="1">
            <a:spLocks/>
          </p:cNvSpPr>
          <p:nvPr userDrawn="1"/>
        </p:nvSpPr>
        <p:spPr>
          <a:xfrm>
            <a:off x="495792" y="667170"/>
            <a:ext cx="4860636" cy="177912"/>
          </a:xfrm>
          <a:prstGeom prst="rect">
            <a:avLst/>
          </a:prstGeom>
        </p:spPr>
        <p:txBody>
          <a:bodyPr vert="horz" lIns="0" tIns="0" rIns="0" bIns="27432" rtlCol="0" anchor="b" anchorCtr="0">
            <a:noAutofit/>
          </a:bodyPr>
          <a:lstStyle>
            <a:defPPr>
              <a:defRPr lang="en-US"/>
            </a:defPPr>
            <a:lvl1pPr>
              <a:defRPr sz="900" b="0" i="0" cap="all" spc="200" baseline="0"/>
            </a:lvl1pPr>
          </a:lstStyle>
          <a:p>
            <a:pPr lvl="0"/>
            <a:r>
              <a:rPr lang="en-US" noProof="0"/>
              <a:t>Confidentia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9FF63A3-3082-48DD-462B-12CCB4742F74}"/>
              </a:ext>
            </a:extLst>
          </p:cNvPr>
          <p:cNvCxnSpPr>
            <a:cxnSpLocks/>
          </p:cNvCxnSpPr>
          <p:nvPr userDrawn="1"/>
        </p:nvCxnSpPr>
        <p:spPr>
          <a:xfrm>
            <a:off x="486064" y="889560"/>
            <a:ext cx="972127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grpSp>
        <p:nvGrpSpPr>
          <p:cNvPr id="7" name="MainLogo">
            <a:extLst>
              <a:ext uri="{FF2B5EF4-FFF2-40B4-BE49-F238E27FC236}">
                <a16:creationId xmlns:a16="http://schemas.microsoft.com/office/drawing/2014/main" id="{A8398C64-9BB4-179C-40B9-C0EBB1EECF7C}"/>
              </a:ext>
            </a:extLst>
          </p:cNvPr>
          <p:cNvGrpSpPr/>
          <p:nvPr userDrawn="1"/>
        </p:nvGrpSpPr>
        <p:grpSpPr>
          <a:xfrm>
            <a:off x="486664" y="6995460"/>
            <a:ext cx="801858" cy="150418"/>
            <a:chOff x="450851" y="7519507"/>
            <a:chExt cx="801858" cy="150418"/>
          </a:xfrm>
          <a:solidFill>
            <a:schemeClr val="tx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3036AC5-60CD-9BE1-6CBC-969E550BD2BD}"/>
                </a:ext>
              </a:extLst>
            </p:cNvPr>
            <p:cNvSpPr/>
            <p:nvPr/>
          </p:nvSpPr>
          <p:spPr>
            <a:xfrm>
              <a:off x="727769" y="7539586"/>
              <a:ext cx="105639" cy="130296"/>
            </a:xfrm>
            <a:custGeom>
              <a:avLst/>
              <a:gdLst>
                <a:gd name="connsiteX0" fmla="*/ 215400 w 221424"/>
                <a:gd name="connsiteY0" fmla="*/ 2422 h 273108"/>
                <a:gd name="connsiteX1" fmla="*/ 219003 w 221424"/>
                <a:gd name="connsiteY1" fmla="*/ 2422 h 273108"/>
                <a:gd name="connsiteX2" fmla="*/ 221425 w 221424"/>
                <a:gd name="connsiteY2" fmla="*/ 4845 h 273108"/>
                <a:gd name="connsiteX3" fmla="*/ 219608 w 221424"/>
                <a:gd name="connsiteY3" fmla="*/ 9053 h 273108"/>
                <a:gd name="connsiteX4" fmla="*/ 45750 w 221424"/>
                <a:gd name="connsiteY4" fmla="*/ 257485 h 273108"/>
                <a:gd name="connsiteX5" fmla="*/ 137796 w 221424"/>
                <a:gd name="connsiteY5" fmla="*/ 256880 h 273108"/>
                <a:gd name="connsiteX6" fmla="*/ 199746 w 221424"/>
                <a:gd name="connsiteY6" fmla="*/ 239440 h 273108"/>
                <a:gd name="connsiteX7" fmla="*/ 207558 w 221424"/>
                <a:gd name="connsiteY7" fmla="*/ 220183 h 273108"/>
                <a:gd name="connsiteX8" fmla="*/ 211161 w 221424"/>
                <a:gd name="connsiteY8" fmla="*/ 214157 h 273108"/>
                <a:gd name="connsiteX9" fmla="*/ 214764 w 221424"/>
                <a:gd name="connsiteY9" fmla="*/ 214157 h 273108"/>
                <a:gd name="connsiteX10" fmla="*/ 206346 w 221424"/>
                <a:gd name="connsiteY10" fmla="*/ 263480 h 273108"/>
                <a:gd name="connsiteX11" fmla="*/ 194326 w 221424"/>
                <a:gd name="connsiteY11" fmla="*/ 273109 h 273108"/>
                <a:gd name="connsiteX12" fmla="*/ 6025 w 221424"/>
                <a:gd name="connsiteY12" fmla="*/ 273109 h 273108"/>
                <a:gd name="connsiteX13" fmla="*/ 0 w 221424"/>
                <a:gd name="connsiteY13" fmla="*/ 268295 h 273108"/>
                <a:gd name="connsiteX14" fmla="*/ 5420 w 221424"/>
                <a:gd name="connsiteY14" fmla="*/ 258061 h 273108"/>
                <a:gd name="connsiteX15" fmla="*/ 141975 w 221424"/>
                <a:gd name="connsiteY15" fmla="*/ 78814 h 273108"/>
                <a:gd name="connsiteX16" fmla="*/ 182881 w 221424"/>
                <a:gd name="connsiteY16" fmla="*/ 21649 h 273108"/>
                <a:gd name="connsiteX17" fmla="*/ 186484 w 221424"/>
                <a:gd name="connsiteY17" fmla="*/ 16835 h 273108"/>
                <a:gd name="connsiteX18" fmla="*/ 89018 w 221424"/>
                <a:gd name="connsiteY18" fmla="*/ 17440 h 273108"/>
                <a:gd name="connsiteX19" fmla="*/ 60163 w 221424"/>
                <a:gd name="connsiteY19" fmla="*/ 19227 h 273108"/>
                <a:gd name="connsiteX20" fmla="*/ 42723 w 221424"/>
                <a:gd name="connsiteY20" fmla="*/ 24646 h 273108"/>
                <a:gd name="connsiteX21" fmla="*/ 20468 w 221424"/>
                <a:gd name="connsiteY21" fmla="*/ 52926 h 273108"/>
                <a:gd name="connsiteX22" fmla="*/ 16259 w 221424"/>
                <a:gd name="connsiteY22" fmla="*/ 59527 h 273108"/>
                <a:gd name="connsiteX23" fmla="*/ 13837 w 221424"/>
                <a:gd name="connsiteY23" fmla="*/ 54713 h 273108"/>
                <a:gd name="connsiteX24" fmla="*/ 21649 w 221424"/>
                <a:gd name="connsiteY24" fmla="*/ 7206 h 273108"/>
                <a:gd name="connsiteX25" fmla="*/ 25252 w 221424"/>
                <a:gd name="connsiteY25" fmla="*/ 0 h 273108"/>
                <a:gd name="connsiteX26" fmla="*/ 38484 w 221424"/>
                <a:gd name="connsiteY26" fmla="*/ 1817 h 273108"/>
                <a:gd name="connsiteX27" fmla="*/ 108850 w 221424"/>
                <a:gd name="connsiteY27" fmla="*/ 1817 h 273108"/>
                <a:gd name="connsiteX28" fmla="*/ 215339 w 221424"/>
                <a:gd name="connsiteY28" fmla="*/ 2422 h 273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21424" h="273108">
                  <a:moveTo>
                    <a:pt x="215400" y="2422"/>
                  </a:moveTo>
                  <a:lnTo>
                    <a:pt x="219003" y="2422"/>
                  </a:lnTo>
                  <a:cubicBezTo>
                    <a:pt x="220819" y="3028"/>
                    <a:pt x="221425" y="3633"/>
                    <a:pt x="221425" y="4845"/>
                  </a:cubicBezTo>
                  <a:cubicBezTo>
                    <a:pt x="221425" y="6661"/>
                    <a:pt x="221425" y="7267"/>
                    <a:pt x="219608" y="9053"/>
                  </a:cubicBezTo>
                  <a:cubicBezTo>
                    <a:pt x="162443" y="92076"/>
                    <a:pt x="105308" y="175068"/>
                    <a:pt x="45750" y="257485"/>
                  </a:cubicBezTo>
                  <a:lnTo>
                    <a:pt x="137796" y="256880"/>
                  </a:lnTo>
                  <a:cubicBezTo>
                    <a:pt x="178702" y="256880"/>
                    <a:pt x="191328" y="250249"/>
                    <a:pt x="199746" y="239440"/>
                  </a:cubicBezTo>
                  <a:cubicBezTo>
                    <a:pt x="203349" y="234625"/>
                    <a:pt x="206952" y="224997"/>
                    <a:pt x="207558" y="220183"/>
                  </a:cubicBezTo>
                  <a:cubicBezTo>
                    <a:pt x="208163" y="216580"/>
                    <a:pt x="211161" y="214157"/>
                    <a:pt x="211161" y="214157"/>
                  </a:cubicBezTo>
                  <a:lnTo>
                    <a:pt x="214764" y="214157"/>
                  </a:lnTo>
                  <a:cubicBezTo>
                    <a:pt x="214764" y="214157"/>
                    <a:pt x="208738" y="254458"/>
                    <a:pt x="206346" y="263480"/>
                  </a:cubicBezTo>
                  <a:cubicBezTo>
                    <a:pt x="203954" y="272503"/>
                    <a:pt x="203349" y="273109"/>
                    <a:pt x="194326" y="273109"/>
                  </a:cubicBezTo>
                  <a:lnTo>
                    <a:pt x="6025" y="273109"/>
                  </a:lnTo>
                  <a:cubicBezTo>
                    <a:pt x="1817" y="273109"/>
                    <a:pt x="0" y="270687"/>
                    <a:pt x="0" y="268295"/>
                  </a:cubicBezTo>
                  <a:cubicBezTo>
                    <a:pt x="0" y="266478"/>
                    <a:pt x="1211" y="264692"/>
                    <a:pt x="5420" y="258061"/>
                  </a:cubicBezTo>
                  <a:cubicBezTo>
                    <a:pt x="48718" y="198504"/>
                    <a:pt x="97435" y="138946"/>
                    <a:pt x="141975" y="78814"/>
                  </a:cubicBezTo>
                  <a:cubicBezTo>
                    <a:pt x="155812" y="60163"/>
                    <a:pt x="169649" y="40906"/>
                    <a:pt x="182881" y="21649"/>
                  </a:cubicBezTo>
                  <a:cubicBezTo>
                    <a:pt x="184092" y="19832"/>
                    <a:pt x="185303" y="18651"/>
                    <a:pt x="186484" y="16835"/>
                  </a:cubicBezTo>
                  <a:lnTo>
                    <a:pt x="89018" y="17440"/>
                  </a:lnTo>
                  <a:cubicBezTo>
                    <a:pt x="76998" y="17440"/>
                    <a:pt x="67975" y="18046"/>
                    <a:pt x="60163" y="19227"/>
                  </a:cubicBezTo>
                  <a:cubicBezTo>
                    <a:pt x="53532" y="20438"/>
                    <a:pt x="47537" y="22224"/>
                    <a:pt x="42723" y="24646"/>
                  </a:cubicBezTo>
                  <a:cubicBezTo>
                    <a:pt x="28885" y="31247"/>
                    <a:pt x="20468" y="52926"/>
                    <a:pt x="20468" y="52926"/>
                  </a:cubicBezTo>
                  <a:lnTo>
                    <a:pt x="16259" y="59527"/>
                  </a:lnTo>
                  <a:cubicBezTo>
                    <a:pt x="16259" y="59527"/>
                    <a:pt x="13837" y="57740"/>
                    <a:pt x="13837" y="54713"/>
                  </a:cubicBezTo>
                  <a:cubicBezTo>
                    <a:pt x="13837" y="50504"/>
                    <a:pt x="19257" y="18015"/>
                    <a:pt x="21649" y="7206"/>
                  </a:cubicBezTo>
                  <a:cubicBezTo>
                    <a:pt x="22255" y="1786"/>
                    <a:pt x="25252" y="0"/>
                    <a:pt x="25252" y="0"/>
                  </a:cubicBezTo>
                  <a:cubicBezTo>
                    <a:pt x="25252" y="0"/>
                    <a:pt x="27644" y="1817"/>
                    <a:pt x="38484" y="1817"/>
                  </a:cubicBezTo>
                  <a:lnTo>
                    <a:pt x="108850" y="1817"/>
                  </a:lnTo>
                  <a:lnTo>
                    <a:pt x="215339" y="2422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02D416A-BDDC-D99F-F3D2-5641981988F3}"/>
                </a:ext>
              </a:extLst>
            </p:cNvPr>
            <p:cNvSpPr/>
            <p:nvPr/>
          </p:nvSpPr>
          <p:spPr>
            <a:xfrm>
              <a:off x="579704" y="7536212"/>
              <a:ext cx="136306" cy="133685"/>
            </a:xfrm>
            <a:custGeom>
              <a:avLst/>
              <a:gdLst>
                <a:gd name="connsiteX0" fmla="*/ 266509 w 285705"/>
                <a:gd name="connsiteY0" fmla="*/ 272975 h 280211"/>
                <a:gd name="connsiteX1" fmla="*/ 235837 w 285705"/>
                <a:gd name="connsiteY1" fmla="*/ 234461 h 280211"/>
                <a:gd name="connsiteX2" fmla="*/ 138977 w 285705"/>
                <a:gd name="connsiteY2" fmla="*/ 1077 h 280211"/>
                <a:gd name="connsiteX3" fmla="*/ 136555 w 285705"/>
                <a:gd name="connsiteY3" fmla="*/ 2288 h 280211"/>
                <a:gd name="connsiteX4" fmla="*/ 45720 w 285705"/>
                <a:gd name="connsiteY4" fmla="*/ 239306 h 280211"/>
                <a:gd name="connsiteX5" fmla="*/ 14443 w 285705"/>
                <a:gd name="connsiteY5" fmla="*/ 274186 h 280211"/>
                <a:gd name="connsiteX6" fmla="*/ 0 w 285705"/>
                <a:gd name="connsiteY6" fmla="*/ 275397 h 280211"/>
                <a:gd name="connsiteX7" fmla="*/ 0 w 285705"/>
                <a:gd name="connsiteY7" fmla="*/ 277214 h 280211"/>
                <a:gd name="connsiteX8" fmla="*/ 7206 w 285705"/>
                <a:gd name="connsiteY8" fmla="*/ 280212 h 280211"/>
                <a:gd name="connsiteX9" fmla="*/ 78784 w 285705"/>
                <a:gd name="connsiteY9" fmla="*/ 280212 h 280211"/>
                <a:gd name="connsiteX10" fmla="*/ 84204 w 285705"/>
                <a:gd name="connsiteY10" fmla="*/ 277214 h 280211"/>
                <a:gd name="connsiteX11" fmla="*/ 84204 w 285705"/>
                <a:gd name="connsiteY11" fmla="*/ 276003 h 280211"/>
                <a:gd name="connsiteX12" fmla="*/ 76998 w 285705"/>
                <a:gd name="connsiteY12" fmla="*/ 275397 h 280211"/>
                <a:gd name="connsiteX13" fmla="*/ 62555 w 285705"/>
                <a:gd name="connsiteY13" fmla="*/ 264558 h 280211"/>
                <a:gd name="connsiteX14" fmla="*/ 67975 w 285705"/>
                <a:gd name="connsiteY14" fmla="*/ 239306 h 280211"/>
                <a:gd name="connsiteX15" fmla="*/ 92046 w 285705"/>
                <a:gd name="connsiteY15" fmla="*/ 169515 h 280211"/>
                <a:gd name="connsiteX16" fmla="*/ 176855 w 285705"/>
                <a:gd name="connsiteY16" fmla="*/ 170120 h 280211"/>
                <a:gd name="connsiteX17" fmla="*/ 212947 w 285705"/>
                <a:gd name="connsiteY17" fmla="*/ 264558 h 280211"/>
                <a:gd name="connsiteX18" fmla="*/ 210525 w 285705"/>
                <a:gd name="connsiteY18" fmla="*/ 274186 h 280211"/>
                <a:gd name="connsiteX19" fmla="*/ 208102 w 285705"/>
                <a:gd name="connsiteY19" fmla="*/ 277184 h 280211"/>
                <a:gd name="connsiteX20" fmla="*/ 218942 w 285705"/>
                <a:gd name="connsiteY20" fmla="*/ 280181 h 280211"/>
                <a:gd name="connsiteX21" fmla="*/ 277894 w 285705"/>
                <a:gd name="connsiteY21" fmla="*/ 280181 h 280211"/>
                <a:gd name="connsiteX22" fmla="*/ 285706 w 285705"/>
                <a:gd name="connsiteY22" fmla="*/ 277184 h 280211"/>
                <a:gd name="connsiteX23" fmla="*/ 285100 w 285705"/>
                <a:gd name="connsiteY23" fmla="*/ 275367 h 280211"/>
                <a:gd name="connsiteX24" fmla="*/ 266449 w 285705"/>
                <a:gd name="connsiteY24" fmla="*/ 272945 h 280211"/>
                <a:gd name="connsiteX25" fmla="*/ 95619 w 285705"/>
                <a:gd name="connsiteY25" fmla="*/ 156253 h 280211"/>
                <a:gd name="connsiteX26" fmla="*/ 133527 w 285705"/>
                <a:gd name="connsiteY26" fmla="*/ 47373 h 280211"/>
                <a:gd name="connsiteX27" fmla="*/ 172011 w 285705"/>
                <a:gd name="connsiteY27" fmla="*/ 156253 h 280211"/>
                <a:gd name="connsiteX28" fmla="*/ 95619 w 285705"/>
                <a:gd name="connsiteY28" fmla="*/ 156253 h 28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5705" h="280211">
                  <a:moveTo>
                    <a:pt x="266509" y="272975"/>
                  </a:moveTo>
                  <a:cubicBezTo>
                    <a:pt x="259303" y="270583"/>
                    <a:pt x="249069" y="265163"/>
                    <a:pt x="235837" y="234461"/>
                  </a:cubicBezTo>
                  <a:lnTo>
                    <a:pt x="138977" y="1077"/>
                  </a:lnTo>
                  <a:cubicBezTo>
                    <a:pt x="137766" y="-1920"/>
                    <a:pt x="136555" y="2288"/>
                    <a:pt x="136555" y="2288"/>
                  </a:cubicBezTo>
                  <a:lnTo>
                    <a:pt x="45720" y="239306"/>
                  </a:lnTo>
                  <a:cubicBezTo>
                    <a:pt x="39120" y="257957"/>
                    <a:pt x="31883" y="272400"/>
                    <a:pt x="14443" y="274186"/>
                  </a:cubicBezTo>
                  <a:cubicBezTo>
                    <a:pt x="11445" y="274792"/>
                    <a:pt x="0" y="275397"/>
                    <a:pt x="0" y="275397"/>
                  </a:cubicBezTo>
                  <a:lnTo>
                    <a:pt x="0" y="277214"/>
                  </a:lnTo>
                  <a:cubicBezTo>
                    <a:pt x="0" y="277214"/>
                    <a:pt x="2392" y="280212"/>
                    <a:pt x="7206" y="280212"/>
                  </a:cubicBezTo>
                  <a:lnTo>
                    <a:pt x="78784" y="280212"/>
                  </a:lnTo>
                  <a:cubicBezTo>
                    <a:pt x="82387" y="280212"/>
                    <a:pt x="84204" y="277214"/>
                    <a:pt x="84204" y="277214"/>
                  </a:cubicBezTo>
                  <a:lnTo>
                    <a:pt x="84204" y="276003"/>
                  </a:lnTo>
                  <a:lnTo>
                    <a:pt x="76998" y="275397"/>
                  </a:lnTo>
                  <a:cubicBezTo>
                    <a:pt x="70367" y="275397"/>
                    <a:pt x="62555" y="271794"/>
                    <a:pt x="62555" y="264558"/>
                  </a:cubicBezTo>
                  <a:cubicBezTo>
                    <a:pt x="62555" y="257321"/>
                    <a:pt x="64341" y="248329"/>
                    <a:pt x="67975" y="239306"/>
                  </a:cubicBezTo>
                  <a:lnTo>
                    <a:pt x="92046" y="169515"/>
                  </a:lnTo>
                  <a:lnTo>
                    <a:pt x="176855" y="170120"/>
                  </a:lnTo>
                  <a:lnTo>
                    <a:pt x="212947" y="264558"/>
                  </a:lnTo>
                  <a:cubicBezTo>
                    <a:pt x="215339" y="270583"/>
                    <a:pt x="212947" y="273581"/>
                    <a:pt x="210525" y="274186"/>
                  </a:cubicBezTo>
                  <a:cubicBezTo>
                    <a:pt x="209314" y="274792"/>
                    <a:pt x="208102" y="275397"/>
                    <a:pt x="208102" y="277184"/>
                  </a:cubicBezTo>
                  <a:cubicBezTo>
                    <a:pt x="208102" y="279576"/>
                    <a:pt x="211706" y="280181"/>
                    <a:pt x="218942" y="280181"/>
                  </a:cubicBezTo>
                  <a:lnTo>
                    <a:pt x="277894" y="280181"/>
                  </a:lnTo>
                  <a:cubicBezTo>
                    <a:pt x="282103" y="280181"/>
                    <a:pt x="285706" y="277184"/>
                    <a:pt x="285706" y="277184"/>
                  </a:cubicBezTo>
                  <a:lnTo>
                    <a:pt x="285100" y="275367"/>
                  </a:lnTo>
                  <a:cubicBezTo>
                    <a:pt x="285100" y="275367"/>
                    <a:pt x="272474" y="274762"/>
                    <a:pt x="266449" y="272945"/>
                  </a:cubicBezTo>
                  <a:moveTo>
                    <a:pt x="95619" y="156253"/>
                  </a:moveTo>
                  <a:lnTo>
                    <a:pt x="133527" y="47373"/>
                  </a:lnTo>
                  <a:lnTo>
                    <a:pt x="172011" y="156253"/>
                  </a:lnTo>
                  <a:lnTo>
                    <a:pt x="95619" y="156253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45002245-5134-751B-0CE7-A95C83439DB2}"/>
                </a:ext>
              </a:extLst>
            </p:cNvPr>
            <p:cNvSpPr/>
            <p:nvPr/>
          </p:nvSpPr>
          <p:spPr>
            <a:xfrm>
              <a:off x="840573" y="7536212"/>
              <a:ext cx="136032" cy="133685"/>
            </a:xfrm>
            <a:custGeom>
              <a:avLst/>
              <a:gdLst>
                <a:gd name="connsiteX0" fmla="*/ 266509 w 285130"/>
                <a:gd name="connsiteY0" fmla="*/ 272975 h 280211"/>
                <a:gd name="connsiteX1" fmla="*/ 235837 w 285130"/>
                <a:gd name="connsiteY1" fmla="*/ 234461 h 280211"/>
                <a:gd name="connsiteX2" fmla="*/ 138977 w 285130"/>
                <a:gd name="connsiteY2" fmla="*/ 1077 h 280211"/>
                <a:gd name="connsiteX3" fmla="*/ 136555 w 285130"/>
                <a:gd name="connsiteY3" fmla="*/ 2288 h 280211"/>
                <a:gd name="connsiteX4" fmla="*/ 45720 w 285130"/>
                <a:gd name="connsiteY4" fmla="*/ 239306 h 280211"/>
                <a:gd name="connsiteX5" fmla="*/ 14443 w 285130"/>
                <a:gd name="connsiteY5" fmla="*/ 274186 h 280211"/>
                <a:gd name="connsiteX6" fmla="*/ 0 w 285130"/>
                <a:gd name="connsiteY6" fmla="*/ 275397 h 280211"/>
                <a:gd name="connsiteX7" fmla="*/ 0 w 285130"/>
                <a:gd name="connsiteY7" fmla="*/ 277214 h 280211"/>
                <a:gd name="connsiteX8" fmla="*/ 7206 w 285130"/>
                <a:gd name="connsiteY8" fmla="*/ 280212 h 280211"/>
                <a:gd name="connsiteX9" fmla="*/ 78784 w 285130"/>
                <a:gd name="connsiteY9" fmla="*/ 280212 h 280211"/>
                <a:gd name="connsiteX10" fmla="*/ 84204 w 285130"/>
                <a:gd name="connsiteY10" fmla="*/ 277214 h 280211"/>
                <a:gd name="connsiteX11" fmla="*/ 84204 w 285130"/>
                <a:gd name="connsiteY11" fmla="*/ 276003 h 280211"/>
                <a:gd name="connsiteX12" fmla="*/ 76998 w 285130"/>
                <a:gd name="connsiteY12" fmla="*/ 275397 h 280211"/>
                <a:gd name="connsiteX13" fmla="*/ 62555 w 285130"/>
                <a:gd name="connsiteY13" fmla="*/ 264558 h 280211"/>
                <a:gd name="connsiteX14" fmla="*/ 67975 w 285130"/>
                <a:gd name="connsiteY14" fmla="*/ 239306 h 280211"/>
                <a:gd name="connsiteX15" fmla="*/ 92046 w 285130"/>
                <a:gd name="connsiteY15" fmla="*/ 169515 h 280211"/>
                <a:gd name="connsiteX16" fmla="*/ 176855 w 285130"/>
                <a:gd name="connsiteY16" fmla="*/ 170120 h 280211"/>
                <a:gd name="connsiteX17" fmla="*/ 212947 w 285130"/>
                <a:gd name="connsiteY17" fmla="*/ 264558 h 280211"/>
                <a:gd name="connsiteX18" fmla="*/ 210525 w 285130"/>
                <a:gd name="connsiteY18" fmla="*/ 274186 h 280211"/>
                <a:gd name="connsiteX19" fmla="*/ 208133 w 285130"/>
                <a:gd name="connsiteY19" fmla="*/ 277184 h 280211"/>
                <a:gd name="connsiteX20" fmla="*/ 218972 w 285130"/>
                <a:gd name="connsiteY20" fmla="*/ 280181 h 280211"/>
                <a:gd name="connsiteX21" fmla="*/ 277924 w 285130"/>
                <a:gd name="connsiteY21" fmla="*/ 280181 h 280211"/>
                <a:gd name="connsiteX22" fmla="*/ 285130 w 285130"/>
                <a:gd name="connsiteY22" fmla="*/ 277184 h 280211"/>
                <a:gd name="connsiteX23" fmla="*/ 285130 w 285130"/>
                <a:gd name="connsiteY23" fmla="*/ 275367 h 280211"/>
                <a:gd name="connsiteX24" fmla="*/ 266479 w 285130"/>
                <a:gd name="connsiteY24" fmla="*/ 272945 h 280211"/>
                <a:gd name="connsiteX25" fmla="*/ 95649 w 285130"/>
                <a:gd name="connsiteY25" fmla="*/ 156253 h 280211"/>
                <a:gd name="connsiteX26" fmla="*/ 133557 w 285130"/>
                <a:gd name="connsiteY26" fmla="*/ 47373 h 280211"/>
                <a:gd name="connsiteX27" fmla="*/ 172041 w 285130"/>
                <a:gd name="connsiteY27" fmla="*/ 156253 h 280211"/>
                <a:gd name="connsiteX28" fmla="*/ 95649 w 285130"/>
                <a:gd name="connsiteY28" fmla="*/ 156253 h 28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5130" h="280211">
                  <a:moveTo>
                    <a:pt x="266509" y="272975"/>
                  </a:moveTo>
                  <a:cubicBezTo>
                    <a:pt x="259303" y="270583"/>
                    <a:pt x="248463" y="265163"/>
                    <a:pt x="235837" y="234461"/>
                  </a:cubicBezTo>
                  <a:lnTo>
                    <a:pt x="138977" y="1077"/>
                  </a:lnTo>
                  <a:cubicBezTo>
                    <a:pt x="137766" y="-1920"/>
                    <a:pt x="136555" y="2288"/>
                    <a:pt x="136555" y="2288"/>
                  </a:cubicBezTo>
                  <a:lnTo>
                    <a:pt x="45720" y="239306"/>
                  </a:lnTo>
                  <a:cubicBezTo>
                    <a:pt x="39119" y="257957"/>
                    <a:pt x="31277" y="272400"/>
                    <a:pt x="14443" y="274186"/>
                  </a:cubicBezTo>
                  <a:cubicBezTo>
                    <a:pt x="11445" y="274792"/>
                    <a:pt x="0" y="275397"/>
                    <a:pt x="0" y="275397"/>
                  </a:cubicBezTo>
                  <a:lnTo>
                    <a:pt x="0" y="277214"/>
                  </a:lnTo>
                  <a:cubicBezTo>
                    <a:pt x="0" y="277214"/>
                    <a:pt x="2422" y="280212"/>
                    <a:pt x="7206" y="280212"/>
                  </a:cubicBezTo>
                  <a:lnTo>
                    <a:pt x="78784" y="280212"/>
                  </a:lnTo>
                  <a:cubicBezTo>
                    <a:pt x="82387" y="280212"/>
                    <a:pt x="84204" y="277214"/>
                    <a:pt x="84204" y="277214"/>
                  </a:cubicBezTo>
                  <a:lnTo>
                    <a:pt x="84204" y="276003"/>
                  </a:lnTo>
                  <a:lnTo>
                    <a:pt x="76998" y="275397"/>
                  </a:lnTo>
                  <a:cubicBezTo>
                    <a:pt x="70367" y="275397"/>
                    <a:pt x="62555" y="271794"/>
                    <a:pt x="62555" y="264558"/>
                  </a:cubicBezTo>
                  <a:cubicBezTo>
                    <a:pt x="62555" y="257321"/>
                    <a:pt x="64341" y="248329"/>
                    <a:pt x="67975" y="239306"/>
                  </a:cubicBezTo>
                  <a:lnTo>
                    <a:pt x="92046" y="169515"/>
                  </a:lnTo>
                  <a:lnTo>
                    <a:pt x="176855" y="170120"/>
                  </a:lnTo>
                  <a:lnTo>
                    <a:pt x="212947" y="264558"/>
                  </a:lnTo>
                  <a:cubicBezTo>
                    <a:pt x="214733" y="270583"/>
                    <a:pt x="212947" y="273581"/>
                    <a:pt x="210525" y="274186"/>
                  </a:cubicBezTo>
                  <a:cubicBezTo>
                    <a:pt x="208708" y="274792"/>
                    <a:pt x="208133" y="275397"/>
                    <a:pt x="208133" y="277184"/>
                  </a:cubicBezTo>
                  <a:cubicBezTo>
                    <a:pt x="208133" y="279576"/>
                    <a:pt x="211736" y="280181"/>
                    <a:pt x="218972" y="280181"/>
                  </a:cubicBezTo>
                  <a:lnTo>
                    <a:pt x="277924" y="280181"/>
                  </a:lnTo>
                  <a:cubicBezTo>
                    <a:pt x="282133" y="280181"/>
                    <a:pt x="285130" y="277184"/>
                    <a:pt x="285130" y="277184"/>
                  </a:cubicBezTo>
                  <a:lnTo>
                    <a:pt x="285130" y="275367"/>
                  </a:lnTo>
                  <a:cubicBezTo>
                    <a:pt x="285130" y="275367"/>
                    <a:pt x="272504" y="274762"/>
                    <a:pt x="266479" y="272945"/>
                  </a:cubicBezTo>
                  <a:moveTo>
                    <a:pt x="95649" y="156253"/>
                  </a:moveTo>
                  <a:lnTo>
                    <a:pt x="133557" y="47373"/>
                  </a:lnTo>
                  <a:lnTo>
                    <a:pt x="172041" y="156253"/>
                  </a:lnTo>
                  <a:lnTo>
                    <a:pt x="95649" y="156253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CD63BAA-4C50-2745-1783-49F64D272B8F}"/>
                </a:ext>
              </a:extLst>
            </p:cNvPr>
            <p:cNvSpPr/>
            <p:nvPr/>
          </p:nvSpPr>
          <p:spPr>
            <a:xfrm>
              <a:off x="450851" y="7519507"/>
              <a:ext cx="118813" cy="150376"/>
            </a:xfrm>
            <a:custGeom>
              <a:avLst/>
              <a:gdLst>
                <a:gd name="connsiteX0" fmla="*/ 7812 w 249038"/>
                <a:gd name="connsiteY0" fmla="*/ 315196 h 315195"/>
                <a:gd name="connsiteX1" fmla="*/ 2392 w 249038"/>
                <a:gd name="connsiteY1" fmla="*/ 311592 h 315195"/>
                <a:gd name="connsiteX2" fmla="*/ 2392 w 249038"/>
                <a:gd name="connsiteY2" fmla="*/ 309776 h 315195"/>
                <a:gd name="connsiteX3" fmla="*/ 16229 w 249038"/>
                <a:gd name="connsiteY3" fmla="*/ 307989 h 315195"/>
                <a:gd name="connsiteX4" fmla="*/ 30066 w 249038"/>
                <a:gd name="connsiteY4" fmla="*/ 287552 h 315195"/>
                <a:gd name="connsiteX5" fmla="*/ 31853 w 249038"/>
                <a:gd name="connsiteY5" fmla="*/ 208738 h 315195"/>
                <a:gd name="connsiteX6" fmla="*/ 31853 w 249038"/>
                <a:gd name="connsiteY6" fmla="*/ 144366 h 315195"/>
                <a:gd name="connsiteX7" fmla="*/ 30642 w 249038"/>
                <a:gd name="connsiteY7" fmla="*/ 27069 h 315195"/>
                <a:gd name="connsiteX8" fmla="*/ 15018 w 249038"/>
                <a:gd name="connsiteY8" fmla="*/ 6601 h 315195"/>
                <a:gd name="connsiteX9" fmla="*/ 2998 w 249038"/>
                <a:gd name="connsiteY9" fmla="*/ 5390 h 315195"/>
                <a:gd name="connsiteX10" fmla="*/ 0 w 249038"/>
                <a:gd name="connsiteY10" fmla="*/ 3603 h 315195"/>
                <a:gd name="connsiteX11" fmla="*/ 606 w 249038"/>
                <a:gd name="connsiteY11" fmla="*/ 0 h 315195"/>
                <a:gd name="connsiteX12" fmla="*/ 49323 w 249038"/>
                <a:gd name="connsiteY12" fmla="*/ 1786 h 315195"/>
                <a:gd name="connsiteX13" fmla="*/ 93832 w 249038"/>
                <a:gd name="connsiteY13" fmla="*/ 0 h 315195"/>
                <a:gd name="connsiteX14" fmla="*/ 93832 w 249038"/>
                <a:gd name="connsiteY14" fmla="*/ 3603 h 315195"/>
                <a:gd name="connsiteX15" fmla="*/ 91440 w 249038"/>
                <a:gd name="connsiteY15" fmla="*/ 5390 h 315195"/>
                <a:gd name="connsiteX16" fmla="*/ 79420 w 249038"/>
                <a:gd name="connsiteY16" fmla="*/ 6601 h 315195"/>
                <a:gd name="connsiteX17" fmla="*/ 64977 w 249038"/>
                <a:gd name="connsiteY17" fmla="*/ 27069 h 315195"/>
                <a:gd name="connsiteX18" fmla="*/ 64372 w 249038"/>
                <a:gd name="connsiteY18" fmla="*/ 144366 h 315195"/>
                <a:gd name="connsiteX19" fmla="*/ 64372 w 249038"/>
                <a:gd name="connsiteY19" fmla="*/ 209343 h 315195"/>
                <a:gd name="connsiteX20" fmla="*/ 72183 w 249038"/>
                <a:gd name="connsiteY20" fmla="*/ 289944 h 315195"/>
                <a:gd name="connsiteX21" fmla="*/ 161232 w 249038"/>
                <a:gd name="connsiteY21" fmla="*/ 299572 h 315195"/>
                <a:gd name="connsiteX22" fmla="*/ 174463 w 249038"/>
                <a:gd name="connsiteY22" fmla="*/ 299572 h 315195"/>
                <a:gd name="connsiteX23" fmla="*/ 233415 w 249038"/>
                <a:gd name="connsiteY23" fmla="*/ 281526 h 315195"/>
                <a:gd name="connsiteX24" fmla="*/ 241227 w 249038"/>
                <a:gd name="connsiteY24" fmla="*/ 262269 h 315195"/>
                <a:gd name="connsiteX25" fmla="*/ 244830 w 249038"/>
                <a:gd name="connsiteY25" fmla="*/ 256850 h 315195"/>
                <a:gd name="connsiteX26" fmla="*/ 249039 w 249038"/>
                <a:gd name="connsiteY26" fmla="*/ 256850 h 315195"/>
                <a:gd name="connsiteX27" fmla="*/ 240016 w 249038"/>
                <a:gd name="connsiteY27" fmla="*/ 306173 h 315195"/>
                <a:gd name="connsiteX28" fmla="*/ 228601 w 249038"/>
                <a:gd name="connsiteY28" fmla="*/ 315196 h 315195"/>
                <a:gd name="connsiteX29" fmla="*/ 7812 w 249038"/>
                <a:gd name="connsiteY29" fmla="*/ 315196 h 31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49038" h="315195">
                  <a:moveTo>
                    <a:pt x="7812" y="315196"/>
                  </a:moveTo>
                  <a:cubicBezTo>
                    <a:pt x="4209" y="315196"/>
                    <a:pt x="2392" y="311592"/>
                    <a:pt x="2392" y="311592"/>
                  </a:cubicBezTo>
                  <a:lnTo>
                    <a:pt x="2392" y="309776"/>
                  </a:lnTo>
                  <a:cubicBezTo>
                    <a:pt x="2392" y="309776"/>
                    <a:pt x="12626" y="308565"/>
                    <a:pt x="16229" y="307989"/>
                  </a:cubicBezTo>
                  <a:cubicBezTo>
                    <a:pt x="23435" y="306173"/>
                    <a:pt x="28250" y="297755"/>
                    <a:pt x="30066" y="287552"/>
                  </a:cubicBezTo>
                  <a:cubicBezTo>
                    <a:pt x="31853" y="271898"/>
                    <a:pt x="31853" y="243648"/>
                    <a:pt x="31853" y="208738"/>
                  </a:cubicBezTo>
                  <a:lnTo>
                    <a:pt x="31853" y="144366"/>
                  </a:lnTo>
                  <a:cubicBezTo>
                    <a:pt x="31853" y="87837"/>
                    <a:pt x="31853" y="39089"/>
                    <a:pt x="30642" y="27069"/>
                  </a:cubicBezTo>
                  <a:cubicBezTo>
                    <a:pt x="30036" y="15048"/>
                    <a:pt x="27038" y="9023"/>
                    <a:pt x="15018" y="6601"/>
                  </a:cubicBezTo>
                  <a:cubicBezTo>
                    <a:pt x="12626" y="5995"/>
                    <a:pt x="2998" y="5390"/>
                    <a:pt x="2998" y="5390"/>
                  </a:cubicBezTo>
                  <a:lnTo>
                    <a:pt x="0" y="3603"/>
                  </a:lnTo>
                  <a:lnTo>
                    <a:pt x="606" y="0"/>
                  </a:lnTo>
                  <a:cubicBezTo>
                    <a:pt x="606" y="0"/>
                    <a:pt x="47537" y="1786"/>
                    <a:pt x="49323" y="1786"/>
                  </a:cubicBezTo>
                  <a:cubicBezTo>
                    <a:pt x="51110" y="1786"/>
                    <a:pt x="93832" y="0"/>
                    <a:pt x="93832" y="0"/>
                  </a:cubicBezTo>
                  <a:lnTo>
                    <a:pt x="93832" y="3603"/>
                  </a:lnTo>
                  <a:lnTo>
                    <a:pt x="91440" y="5390"/>
                  </a:lnTo>
                  <a:cubicBezTo>
                    <a:pt x="91440" y="5390"/>
                    <a:pt x="83629" y="5995"/>
                    <a:pt x="79420" y="6601"/>
                  </a:cubicBezTo>
                  <a:cubicBezTo>
                    <a:pt x="68580" y="8417"/>
                    <a:pt x="65583" y="14412"/>
                    <a:pt x="64977" y="27069"/>
                  </a:cubicBezTo>
                  <a:cubicBezTo>
                    <a:pt x="64372" y="39089"/>
                    <a:pt x="64372" y="87837"/>
                    <a:pt x="64372" y="144366"/>
                  </a:cubicBezTo>
                  <a:lnTo>
                    <a:pt x="64372" y="209343"/>
                  </a:lnTo>
                  <a:cubicBezTo>
                    <a:pt x="64372" y="262875"/>
                    <a:pt x="66158" y="282737"/>
                    <a:pt x="72183" y="289944"/>
                  </a:cubicBezTo>
                  <a:cubicBezTo>
                    <a:pt x="78814" y="297150"/>
                    <a:pt x="119720" y="298966"/>
                    <a:pt x="161232" y="299572"/>
                  </a:cubicBezTo>
                  <a:lnTo>
                    <a:pt x="174463" y="299572"/>
                  </a:lnTo>
                  <a:cubicBezTo>
                    <a:pt x="215975" y="299572"/>
                    <a:pt x="225603" y="292366"/>
                    <a:pt x="233415" y="281526"/>
                  </a:cubicBezTo>
                  <a:cubicBezTo>
                    <a:pt x="237018" y="277318"/>
                    <a:pt x="240621" y="267689"/>
                    <a:pt x="241227" y="262269"/>
                  </a:cubicBezTo>
                  <a:cubicBezTo>
                    <a:pt x="242438" y="258666"/>
                    <a:pt x="244830" y="256850"/>
                    <a:pt x="244830" y="256850"/>
                  </a:cubicBezTo>
                  <a:lnTo>
                    <a:pt x="249039" y="256850"/>
                  </a:lnTo>
                  <a:cubicBezTo>
                    <a:pt x="249039" y="256850"/>
                    <a:pt x="242408" y="297150"/>
                    <a:pt x="240016" y="306173"/>
                  </a:cubicBezTo>
                  <a:cubicBezTo>
                    <a:pt x="238199" y="314620"/>
                    <a:pt x="237594" y="315196"/>
                    <a:pt x="228601" y="315196"/>
                  </a:cubicBezTo>
                  <a:lnTo>
                    <a:pt x="7812" y="315196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A01D599-3A4B-8340-E781-39D0DDCEDBDF}"/>
                </a:ext>
              </a:extLst>
            </p:cNvPr>
            <p:cNvSpPr/>
            <p:nvPr/>
          </p:nvSpPr>
          <p:spPr>
            <a:xfrm>
              <a:off x="986082" y="7540467"/>
              <a:ext cx="135151" cy="129444"/>
            </a:xfrm>
            <a:custGeom>
              <a:avLst/>
              <a:gdLst>
                <a:gd name="connsiteX0" fmla="*/ 265904 w 283283"/>
                <a:gd name="connsiteY0" fmla="*/ 265267 h 271322"/>
                <a:gd name="connsiteX1" fmla="*/ 222000 w 283283"/>
                <a:gd name="connsiteY1" fmla="*/ 239409 h 271322"/>
                <a:gd name="connsiteX2" fmla="*/ 147395 w 283283"/>
                <a:gd name="connsiteY2" fmla="*/ 147364 h 271322"/>
                <a:gd name="connsiteX3" fmla="*/ 191298 w 283283"/>
                <a:gd name="connsiteY3" fmla="*/ 64341 h 271322"/>
                <a:gd name="connsiteX4" fmla="*/ 166046 w 283283"/>
                <a:gd name="connsiteY4" fmla="*/ 15624 h 271322"/>
                <a:gd name="connsiteX5" fmla="*/ 88443 w 283283"/>
                <a:gd name="connsiteY5" fmla="*/ 0 h 271322"/>
                <a:gd name="connsiteX6" fmla="*/ 46326 w 283283"/>
                <a:gd name="connsiteY6" fmla="*/ 606 h 271322"/>
                <a:gd name="connsiteX7" fmla="*/ 0 w 283283"/>
                <a:gd name="connsiteY7" fmla="*/ 0 h 271322"/>
                <a:gd name="connsiteX8" fmla="*/ 0 w 283283"/>
                <a:gd name="connsiteY8" fmla="*/ 2392 h 271322"/>
                <a:gd name="connsiteX9" fmla="*/ 2998 w 283283"/>
                <a:gd name="connsiteY9" fmla="*/ 4814 h 271322"/>
                <a:gd name="connsiteX10" fmla="*/ 15018 w 283283"/>
                <a:gd name="connsiteY10" fmla="*/ 6025 h 271322"/>
                <a:gd name="connsiteX11" fmla="*/ 30642 w 283283"/>
                <a:gd name="connsiteY11" fmla="*/ 26463 h 271322"/>
                <a:gd name="connsiteX12" fmla="*/ 31247 w 283283"/>
                <a:gd name="connsiteY12" fmla="*/ 104066 h 271322"/>
                <a:gd name="connsiteX13" fmla="*/ 31247 w 283283"/>
                <a:gd name="connsiteY13" fmla="*/ 167226 h 271322"/>
                <a:gd name="connsiteX14" fmla="*/ 29430 w 283283"/>
                <a:gd name="connsiteY14" fmla="*/ 245435 h 271322"/>
                <a:gd name="connsiteX15" fmla="*/ 18591 w 283283"/>
                <a:gd name="connsiteY15" fmla="*/ 265297 h 271322"/>
                <a:gd name="connsiteX16" fmla="*/ 5359 w 283283"/>
                <a:gd name="connsiteY16" fmla="*/ 266508 h 271322"/>
                <a:gd name="connsiteX17" fmla="*/ 5359 w 283283"/>
                <a:gd name="connsiteY17" fmla="*/ 268900 h 271322"/>
                <a:gd name="connsiteX18" fmla="*/ 10779 w 283283"/>
                <a:gd name="connsiteY18" fmla="*/ 271322 h 271322"/>
                <a:gd name="connsiteX19" fmla="*/ 88988 w 283283"/>
                <a:gd name="connsiteY19" fmla="*/ 271322 h 271322"/>
                <a:gd name="connsiteX20" fmla="*/ 94408 w 283283"/>
                <a:gd name="connsiteY20" fmla="*/ 268900 h 271322"/>
                <a:gd name="connsiteX21" fmla="*/ 93802 w 283283"/>
                <a:gd name="connsiteY21" fmla="*/ 266508 h 271322"/>
                <a:gd name="connsiteX22" fmla="*/ 75756 w 283283"/>
                <a:gd name="connsiteY22" fmla="*/ 265297 h 271322"/>
                <a:gd name="connsiteX23" fmla="*/ 61313 w 283283"/>
                <a:gd name="connsiteY23" fmla="*/ 245435 h 271322"/>
                <a:gd name="connsiteX24" fmla="*/ 60102 w 283283"/>
                <a:gd name="connsiteY24" fmla="*/ 167226 h 271322"/>
                <a:gd name="connsiteX25" fmla="*/ 60102 w 283283"/>
                <a:gd name="connsiteY25" fmla="*/ 158809 h 271322"/>
                <a:gd name="connsiteX26" fmla="*/ 62525 w 283283"/>
                <a:gd name="connsiteY26" fmla="*/ 155811 h 271322"/>
                <a:gd name="connsiteX27" fmla="*/ 118449 w 283283"/>
                <a:gd name="connsiteY27" fmla="*/ 156417 h 271322"/>
                <a:gd name="connsiteX28" fmla="*/ 123263 w 283283"/>
                <a:gd name="connsiteY28" fmla="*/ 158839 h 271322"/>
                <a:gd name="connsiteX29" fmla="*/ 162382 w 283283"/>
                <a:gd name="connsiteY29" fmla="*/ 211765 h 271322"/>
                <a:gd name="connsiteX30" fmla="*/ 210495 w 283283"/>
                <a:gd name="connsiteY30" fmla="*/ 264692 h 271322"/>
                <a:gd name="connsiteX31" fmla="*/ 249009 w 283283"/>
                <a:gd name="connsiteY31" fmla="*/ 271322 h 271322"/>
                <a:gd name="connsiteX32" fmla="*/ 274866 w 283283"/>
                <a:gd name="connsiteY32" fmla="*/ 271322 h 271322"/>
                <a:gd name="connsiteX33" fmla="*/ 283283 w 283283"/>
                <a:gd name="connsiteY33" fmla="*/ 268900 h 271322"/>
                <a:gd name="connsiteX34" fmla="*/ 281467 w 283283"/>
                <a:gd name="connsiteY34" fmla="*/ 266508 h 271322"/>
                <a:gd name="connsiteX35" fmla="*/ 265843 w 283283"/>
                <a:gd name="connsiteY35" fmla="*/ 265297 h 271322"/>
                <a:gd name="connsiteX36" fmla="*/ 138917 w 283283"/>
                <a:gd name="connsiteY36" fmla="*/ 138371 h 271322"/>
                <a:gd name="connsiteX37" fmla="*/ 99827 w 283283"/>
                <a:gd name="connsiteY37" fmla="*/ 145577 h 271322"/>
                <a:gd name="connsiteX38" fmla="*/ 62525 w 283283"/>
                <a:gd name="connsiteY38" fmla="*/ 139552 h 271322"/>
                <a:gd name="connsiteX39" fmla="*/ 60102 w 283283"/>
                <a:gd name="connsiteY39" fmla="*/ 135343 h 271322"/>
                <a:gd name="connsiteX40" fmla="*/ 60102 w 283283"/>
                <a:gd name="connsiteY40" fmla="*/ 17410 h 271322"/>
                <a:gd name="connsiteX41" fmla="*/ 62525 w 283283"/>
                <a:gd name="connsiteY41" fmla="*/ 13201 h 271322"/>
                <a:gd name="connsiteX42" fmla="*/ 86596 w 283283"/>
                <a:gd name="connsiteY42" fmla="*/ 11385 h 271322"/>
                <a:gd name="connsiteX43" fmla="*/ 160596 w 283283"/>
                <a:gd name="connsiteY43" fmla="*/ 82962 h 271322"/>
                <a:gd name="connsiteX44" fmla="*/ 138947 w 283283"/>
                <a:gd name="connsiteY44" fmla="*/ 138311 h 27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83283" h="271322">
                  <a:moveTo>
                    <a:pt x="265904" y="265267"/>
                  </a:moveTo>
                  <a:cubicBezTo>
                    <a:pt x="256881" y="264056"/>
                    <a:pt x="241833" y="259847"/>
                    <a:pt x="222000" y="239409"/>
                  </a:cubicBezTo>
                  <a:cubicBezTo>
                    <a:pt x="201562" y="217155"/>
                    <a:pt x="176886" y="185272"/>
                    <a:pt x="147395" y="147364"/>
                  </a:cubicBezTo>
                  <a:cubicBezTo>
                    <a:pt x="179883" y="117873"/>
                    <a:pt x="191298" y="90834"/>
                    <a:pt x="191298" y="64341"/>
                  </a:cubicBezTo>
                  <a:cubicBezTo>
                    <a:pt x="191298" y="39664"/>
                    <a:pt x="175039" y="22224"/>
                    <a:pt x="166046" y="15624"/>
                  </a:cubicBezTo>
                  <a:cubicBezTo>
                    <a:pt x="147395" y="1786"/>
                    <a:pt x="111303" y="0"/>
                    <a:pt x="88443" y="0"/>
                  </a:cubicBezTo>
                  <a:cubicBezTo>
                    <a:pt x="77603" y="0"/>
                    <a:pt x="49929" y="606"/>
                    <a:pt x="46326" y="606"/>
                  </a:cubicBezTo>
                  <a:cubicBezTo>
                    <a:pt x="44539" y="606"/>
                    <a:pt x="0" y="0"/>
                    <a:pt x="0" y="0"/>
                  </a:cubicBezTo>
                  <a:lnTo>
                    <a:pt x="0" y="2392"/>
                  </a:lnTo>
                  <a:cubicBezTo>
                    <a:pt x="0" y="2392"/>
                    <a:pt x="1211" y="4814"/>
                    <a:pt x="2998" y="4814"/>
                  </a:cubicBezTo>
                  <a:cubicBezTo>
                    <a:pt x="5995" y="4814"/>
                    <a:pt x="12020" y="5420"/>
                    <a:pt x="15018" y="6025"/>
                  </a:cubicBezTo>
                  <a:cubicBezTo>
                    <a:pt x="27039" y="8448"/>
                    <a:pt x="29461" y="13837"/>
                    <a:pt x="30642" y="26463"/>
                  </a:cubicBezTo>
                  <a:cubicBezTo>
                    <a:pt x="31247" y="37908"/>
                    <a:pt x="31247" y="48112"/>
                    <a:pt x="31247" y="104066"/>
                  </a:cubicBezTo>
                  <a:lnTo>
                    <a:pt x="31247" y="167226"/>
                  </a:lnTo>
                  <a:cubicBezTo>
                    <a:pt x="31247" y="202107"/>
                    <a:pt x="31247" y="230386"/>
                    <a:pt x="29430" y="245435"/>
                  </a:cubicBezTo>
                  <a:cubicBezTo>
                    <a:pt x="27644" y="255669"/>
                    <a:pt x="25827" y="263480"/>
                    <a:pt x="18591" y="265297"/>
                  </a:cubicBezTo>
                  <a:cubicBezTo>
                    <a:pt x="15593" y="265903"/>
                    <a:pt x="5359" y="266508"/>
                    <a:pt x="5359" y="266508"/>
                  </a:cubicBezTo>
                  <a:lnTo>
                    <a:pt x="5359" y="268900"/>
                  </a:lnTo>
                  <a:cubicBezTo>
                    <a:pt x="5359" y="268900"/>
                    <a:pt x="7146" y="271322"/>
                    <a:pt x="10779" y="271322"/>
                  </a:cubicBezTo>
                  <a:lnTo>
                    <a:pt x="88988" y="271322"/>
                  </a:lnTo>
                  <a:cubicBezTo>
                    <a:pt x="92591" y="271322"/>
                    <a:pt x="94408" y="268900"/>
                    <a:pt x="94408" y="268900"/>
                  </a:cubicBezTo>
                  <a:lnTo>
                    <a:pt x="93802" y="266508"/>
                  </a:lnTo>
                  <a:cubicBezTo>
                    <a:pt x="93802" y="266508"/>
                    <a:pt x="80571" y="265903"/>
                    <a:pt x="75756" y="265297"/>
                  </a:cubicBezTo>
                  <a:cubicBezTo>
                    <a:pt x="64917" y="263480"/>
                    <a:pt x="62525" y="255669"/>
                    <a:pt x="61313" y="245435"/>
                  </a:cubicBezTo>
                  <a:cubicBezTo>
                    <a:pt x="60102" y="230386"/>
                    <a:pt x="60102" y="202137"/>
                    <a:pt x="60102" y="167226"/>
                  </a:cubicBezTo>
                  <a:lnTo>
                    <a:pt x="60102" y="158809"/>
                  </a:lnTo>
                  <a:cubicBezTo>
                    <a:pt x="60102" y="156992"/>
                    <a:pt x="60708" y="155811"/>
                    <a:pt x="62525" y="155811"/>
                  </a:cubicBezTo>
                  <a:lnTo>
                    <a:pt x="118449" y="156417"/>
                  </a:lnTo>
                  <a:cubicBezTo>
                    <a:pt x="120871" y="156417"/>
                    <a:pt x="121446" y="157022"/>
                    <a:pt x="123263" y="158839"/>
                  </a:cubicBezTo>
                  <a:cubicBezTo>
                    <a:pt x="130499" y="167862"/>
                    <a:pt x="147334" y="191933"/>
                    <a:pt x="162382" y="211765"/>
                  </a:cubicBezTo>
                  <a:cubicBezTo>
                    <a:pt x="182820" y="238834"/>
                    <a:pt x="195476" y="256274"/>
                    <a:pt x="210495" y="264692"/>
                  </a:cubicBezTo>
                  <a:cubicBezTo>
                    <a:pt x="220123" y="269506"/>
                    <a:pt x="229146" y="271322"/>
                    <a:pt x="249009" y="271322"/>
                  </a:cubicBezTo>
                  <a:lnTo>
                    <a:pt x="274866" y="271322"/>
                  </a:lnTo>
                  <a:cubicBezTo>
                    <a:pt x="280892" y="271322"/>
                    <a:pt x="283283" y="268900"/>
                    <a:pt x="283283" y="268900"/>
                  </a:cubicBezTo>
                  <a:lnTo>
                    <a:pt x="281467" y="266508"/>
                  </a:lnTo>
                  <a:cubicBezTo>
                    <a:pt x="281467" y="266508"/>
                    <a:pt x="273049" y="266508"/>
                    <a:pt x="265843" y="265297"/>
                  </a:cubicBezTo>
                  <a:moveTo>
                    <a:pt x="138917" y="138371"/>
                  </a:moveTo>
                  <a:cubicBezTo>
                    <a:pt x="130499" y="144396"/>
                    <a:pt x="108820" y="145577"/>
                    <a:pt x="99827" y="145577"/>
                  </a:cubicBezTo>
                  <a:cubicBezTo>
                    <a:pt x="84174" y="145577"/>
                    <a:pt x="67944" y="142580"/>
                    <a:pt x="62525" y="139552"/>
                  </a:cubicBezTo>
                  <a:cubicBezTo>
                    <a:pt x="60708" y="138341"/>
                    <a:pt x="60102" y="137130"/>
                    <a:pt x="60102" y="135343"/>
                  </a:cubicBezTo>
                  <a:lnTo>
                    <a:pt x="60102" y="17410"/>
                  </a:lnTo>
                  <a:cubicBezTo>
                    <a:pt x="60102" y="15593"/>
                    <a:pt x="60708" y="13807"/>
                    <a:pt x="62525" y="13201"/>
                  </a:cubicBezTo>
                  <a:cubicBezTo>
                    <a:pt x="66128" y="11990"/>
                    <a:pt x="75756" y="11385"/>
                    <a:pt x="86596" y="11385"/>
                  </a:cubicBezTo>
                  <a:cubicBezTo>
                    <a:pt x="125110" y="11385"/>
                    <a:pt x="160596" y="38453"/>
                    <a:pt x="160596" y="82962"/>
                  </a:cubicBezTo>
                  <a:cubicBezTo>
                    <a:pt x="160596" y="110636"/>
                    <a:pt x="151573" y="129893"/>
                    <a:pt x="138947" y="138311"/>
                  </a:cubicBezTo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15A8E46-19F8-DDB3-CE43-3D161DEA229E}"/>
                </a:ext>
              </a:extLst>
            </p:cNvPr>
            <p:cNvSpPr/>
            <p:nvPr/>
          </p:nvSpPr>
          <p:spPr>
            <a:xfrm>
              <a:off x="1132731" y="7540163"/>
              <a:ext cx="119978" cy="129762"/>
            </a:xfrm>
            <a:custGeom>
              <a:avLst/>
              <a:gdLst>
                <a:gd name="connsiteX0" fmla="*/ 108305 w 251479"/>
                <a:gd name="connsiteY0" fmla="*/ 271898 h 271988"/>
                <a:gd name="connsiteX1" fmla="*/ 215975 w 251479"/>
                <a:gd name="connsiteY1" fmla="*/ 229781 h 271988"/>
                <a:gd name="connsiteX2" fmla="*/ 226209 w 251479"/>
                <a:gd name="connsiteY2" fmla="*/ 215944 h 271988"/>
                <a:gd name="connsiteX3" fmla="*/ 239440 w 251479"/>
                <a:gd name="connsiteY3" fmla="*/ 191873 h 271988"/>
                <a:gd name="connsiteX4" fmla="*/ 217791 w 251479"/>
                <a:gd name="connsiteY4" fmla="*/ 39089 h 271988"/>
                <a:gd name="connsiteX5" fmla="*/ 108305 w 251479"/>
                <a:gd name="connsiteY5" fmla="*/ 606 h 271988"/>
                <a:gd name="connsiteX6" fmla="*/ 0 w 251479"/>
                <a:gd name="connsiteY6" fmla="*/ 0 h 271988"/>
                <a:gd name="connsiteX7" fmla="*/ 0 w 251479"/>
                <a:gd name="connsiteY7" fmla="*/ 3603 h 271988"/>
                <a:gd name="connsiteX8" fmla="*/ 2422 w 251479"/>
                <a:gd name="connsiteY8" fmla="*/ 5420 h 271988"/>
                <a:gd name="connsiteX9" fmla="*/ 7236 w 251479"/>
                <a:gd name="connsiteY9" fmla="*/ 6025 h 271988"/>
                <a:gd name="connsiteX10" fmla="*/ 7812 w 251479"/>
                <a:gd name="connsiteY10" fmla="*/ 6025 h 271988"/>
                <a:gd name="connsiteX11" fmla="*/ 18046 w 251479"/>
                <a:gd name="connsiteY11" fmla="*/ 6631 h 271988"/>
                <a:gd name="connsiteX12" fmla="*/ 21043 w 251479"/>
                <a:gd name="connsiteY12" fmla="*/ 7842 h 271988"/>
                <a:gd name="connsiteX13" fmla="*/ 22255 w 251479"/>
                <a:gd name="connsiteY13" fmla="*/ 7842 h 271988"/>
                <a:gd name="connsiteX14" fmla="*/ 25252 w 251479"/>
                <a:gd name="connsiteY14" fmla="*/ 9053 h 271988"/>
                <a:gd name="connsiteX15" fmla="*/ 27644 w 251479"/>
                <a:gd name="connsiteY15" fmla="*/ 10870 h 271988"/>
                <a:gd name="connsiteX16" fmla="*/ 29461 w 251479"/>
                <a:gd name="connsiteY16" fmla="*/ 12687 h 271988"/>
                <a:gd name="connsiteX17" fmla="*/ 30066 w 251479"/>
                <a:gd name="connsiteY17" fmla="*/ 13292 h 271988"/>
                <a:gd name="connsiteX18" fmla="*/ 30066 w 251479"/>
                <a:gd name="connsiteY18" fmla="*/ 14503 h 271988"/>
                <a:gd name="connsiteX19" fmla="*/ 33064 w 251479"/>
                <a:gd name="connsiteY19" fmla="*/ 27129 h 271988"/>
                <a:gd name="connsiteX20" fmla="*/ 33669 w 251479"/>
                <a:gd name="connsiteY20" fmla="*/ 104732 h 271988"/>
                <a:gd name="connsiteX21" fmla="*/ 33669 w 251479"/>
                <a:gd name="connsiteY21" fmla="*/ 167892 h 271988"/>
                <a:gd name="connsiteX22" fmla="*/ 33064 w 251479"/>
                <a:gd name="connsiteY22" fmla="*/ 244890 h 271988"/>
                <a:gd name="connsiteX23" fmla="*/ 30066 w 251479"/>
                <a:gd name="connsiteY23" fmla="*/ 258121 h 271988"/>
                <a:gd name="connsiteX24" fmla="*/ 30066 w 251479"/>
                <a:gd name="connsiteY24" fmla="*/ 258727 h 271988"/>
                <a:gd name="connsiteX25" fmla="*/ 29461 w 251479"/>
                <a:gd name="connsiteY25" fmla="*/ 259332 h 271988"/>
                <a:gd name="connsiteX26" fmla="*/ 27644 w 251479"/>
                <a:gd name="connsiteY26" fmla="*/ 261149 h 271988"/>
                <a:gd name="connsiteX27" fmla="*/ 25252 w 251479"/>
                <a:gd name="connsiteY27" fmla="*/ 262935 h 271988"/>
                <a:gd name="connsiteX28" fmla="*/ 22255 w 251479"/>
                <a:gd name="connsiteY28" fmla="*/ 264752 h 271988"/>
                <a:gd name="connsiteX29" fmla="*/ 21043 w 251479"/>
                <a:gd name="connsiteY29" fmla="*/ 264752 h 271988"/>
                <a:gd name="connsiteX30" fmla="*/ 18046 w 251479"/>
                <a:gd name="connsiteY30" fmla="*/ 265358 h 271988"/>
                <a:gd name="connsiteX31" fmla="*/ 7812 w 251479"/>
                <a:gd name="connsiteY31" fmla="*/ 266569 h 271988"/>
                <a:gd name="connsiteX32" fmla="*/ 2998 w 251479"/>
                <a:gd name="connsiteY32" fmla="*/ 266569 h 271988"/>
                <a:gd name="connsiteX33" fmla="*/ 1211 w 251479"/>
                <a:gd name="connsiteY33" fmla="*/ 268991 h 271988"/>
                <a:gd name="connsiteX34" fmla="*/ 1211 w 251479"/>
                <a:gd name="connsiteY34" fmla="*/ 271989 h 271988"/>
                <a:gd name="connsiteX35" fmla="*/ 108275 w 251479"/>
                <a:gd name="connsiteY35" fmla="*/ 271989 h 271988"/>
                <a:gd name="connsiteX36" fmla="*/ 116723 w 251479"/>
                <a:gd name="connsiteY36" fmla="*/ 259272 h 271988"/>
                <a:gd name="connsiteX37" fmla="*/ 72819 w 251479"/>
                <a:gd name="connsiteY37" fmla="*/ 258061 h 271988"/>
                <a:gd name="connsiteX38" fmla="*/ 64402 w 251479"/>
                <a:gd name="connsiteY38" fmla="*/ 255669 h 271988"/>
                <a:gd name="connsiteX39" fmla="*/ 62585 w 251479"/>
                <a:gd name="connsiteY39" fmla="*/ 249643 h 271988"/>
                <a:gd name="connsiteX40" fmla="*/ 61980 w 251479"/>
                <a:gd name="connsiteY40" fmla="*/ 173252 h 271988"/>
                <a:gd name="connsiteX41" fmla="*/ 61980 w 251479"/>
                <a:gd name="connsiteY41" fmla="*/ 98676 h 271988"/>
                <a:gd name="connsiteX42" fmla="*/ 62585 w 251479"/>
                <a:gd name="connsiteY42" fmla="*/ 22890 h 271988"/>
                <a:gd name="connsiteX43" fmla="*/ 64402 w 251479"/>
                <a:gd name="connsiteY43" fmla="*/ 16865 h 271988"/>
                <a:gd name="connsiteX44" fmla="*/ 72819 w 251479"/>
                <a:gd name="connsiteY44" fmla="*/ 13867 h 271988"/>
                <a:gd name="connsiteX45" fmla="*/ 89654 w 251479"/>
                <a:gd name="connsiteY45" fmla="*/ 12656 h 271988"/>
                <a:gd name="connsiteX46" fmla="*/ 115512 w 251479"/>
                <a:gd name="connsiteY46" fmla="*/ 13262 h 271988"/>
                <a:gd name="connsiteX47" fmla="*/ 138372 w 251479"/>
                <a:gd name="connsiteY47" fmla="*/ 18076 h 271988"/>
                <a:gd name="connsiteX48" fmla="*/ 160051 w 251479"/>
                <a:gd name="connsiteY48" fmla="*/ 27705 h 271988"/>
                <a:gd name="connsiteX49" fmla="*/ 220789 w 251479"/>
                <a:gd name="connsiteY49" fmla="*/ 137796 h 271988"/>
                <a:gd name="connsiteX50" fmla="*/ 172071 w 251479"/>
                <a:gd name="connsiteY50" fmla="*/ 243648 h 271988"/>
                <a:gd name="connsiteX51" fmla="*/ 116723 w 251479"/>
                <a:gd name="connsiteY51" fmla="*/ 259272 h 271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51479" h="271988">
                  <a:moveTo>
                    <a:pt x="108305" y="271898"/>
                  </a:moveTo>
                  <a:cubicBezTo>
                    <a:pt x="152209" y="271898"/>
                    <a:pt x="184092" y="262269"/>
                    <a:pt x="215975" y="229781"/>
                  </a:cubicBezTo>
                  <a:cubicBezTo>
                    <a:pt x="219578" y="226178"/>
                    <a:pt x="223181" y="221364"/>
                    <a:pt x="226209" y="215944"/>
                  </a:cubicBezTo>
                  <a:cubicBezTo>
                    <a:pt x="226209" y="215944"/>
                    <a:pt x="235837" y="200896"/>
                    <a:pt x="239440" y="191873"/>
                  </a:cubicBezTo>
                  <a:cubicBezTo>
                    <a:pt x="272535" y="107669"/>
                    <a:pt x="227995" y="49323"/>
                    <a:pt x="217791" y="39089"/>
                  </a:cubicBezTo>
                  <a:cubicBezTo>
                    <a:pt x="182911" y="5390"/>
                    <a:pt x="145003" y="1786"/>
                    <a:pt x="108305" y="606"/>
                  </a:cubicBezTo>
                  <a:cubicBezTo>
                    <a:pt x="106489" y="606"/>
                    <a:pt x="0" y="0"/>
                    <a:pt x="0" y="0"/>
                  </a:cubicBezTo>
                  <a:lnTo>
                    <a:pt x="0" y="3603"/>
                  </a:lnTo>
                  <a:cubicBezTo>
                    <a:pt x="0" y="3603"/>
                    <a:pt x="1211" y="5420"/>
                    <a:pt x="2422" y="5420"/>
                  </a:cubicBezTo>
                  <a:cubicBezTo>
                    <a:pt x="3633" y="5420"/>
                    <a:pt x="4814" y="5420"/>
                    <a:pt x="7236" y="6025"/>
                  </a:cubicBezTo>
                  <a:lnTo>
                    <a:pt x="7812" y="6025"/>
                  </a:lnTo>
                  <a:cubicBezTo>
                    <a:pt x="12020" y="6025"/>
                    <a:pt x="16229" y="6025"/>
                    <a:pt x="18046" y="6631"/>
                  </a:cubicBezTo>
                  <a:cubicBezTo>
                    <a:pt x="19257" y="7236"/>
                    <a:pt x="20438" y="7236"/>
                    <a:pt x="21043" y="7842"/>
                  </a:cubicBezTo>
                  <a:lnTo>
                    <a:pt x="22255" y="7842"/>
                  </a:lnTo>
                  <a:cubicBezTo>
                    <a:pt x="23435" y="8448"/>
                    <a:pt x="24041" y="8448"/>
                    <a:pt x="25252" y="9053"/>
                  </a:cubicBezTo>
                  <a:cubicBezTo>
                    <a:pt x="26463" y="9659"/>
                    <a:pt x="27038" y="10264"/>
                    <a:pt x="27644" y="10870"/>
                  </a:cubicBezTo>
                  <a:cubicBezTo>
                    <a:pt x="28250" y="11475"/>
                    <a:pt x="28855" y="12081"/>
                    <a:pt x="29461" y="12687"/>
                  </a:cubicBezTo>
                  <a:lnTo>
                    <a:pt x="30066" y="13292"/>
                  </a:lnTo>
                  <a:lnTo>
                    <a:pt x="30066" y="14503"/>
                  </a:lnTo>
                  <a:cubicBezTo>
                    <a:pt x="32458" y="17501"/>
                    <a:pt x="33064" y="21740"/>
                    <a:pt x="33064" y="27129"/>
                  </a:cubicBezTo>
                  <a:cubicBezTo>
                    <a:pt x="33669" y="38574"/>
                    <a:pt x="33669" y="48778"/>
                    <a:pt x="33669" y="104732"/>
                  </a:cubicBezTo>
                  <a:lnTo>
                    <a:pt x="33669" y="167892"/>
                  </a:lnTo>
                  <a:cubicBezTo>
                    <a:pt x="33669" y="223241"/>
                    <a:pt x="33669" y="233445"/>
                    <a:pt x="33064" y="244890"/>
                  </a:cubicBezTo>
                  <a:cubicBezTo>
                    <a:pt x="33064" y="250915"/>
                    <a:pt x="32458" y="255124"/>
                    <a:pt x="30066" y="258121"/>
                  </a:cubicBezTo>
                  <a:lnTo>
                    <a:pt x="30066" y="258727"/>
                  </a:lnTo>
                  <a:cubicBezTo>
                    <a:pt x="30066" y="259332"/>
                    <a:pt x="29461" y="259332"/>
                    <a:pt x="29461" y="259332"/>
                  </a:cubicBezTo>
                  <a:cubicBezTo>
                    <a:pt x="28855" y="259938"/>
                    <a:pt x="28250" y="260543"/>
                    <a:pt x="27644" y="261149"/>
                  </a:cubicBezTo>
                  <a:cubicBezTo>
                    <a:pt x="27038" y="261755"/>
                    <a:pt x="26433" y="262360"/>
                    <a:pt x="25252" y="262935"/>
                  </a:cubicBezTo>
                  <a:cubicBezTo>
                    <a:pt x="24041" y="263541"/>
                    <a:pt x="23435" y="264147"/>
                    <a:pt x="22255" y="264752"/>
                  </a:cubicBezTo>
                  <a:lnTo>
                    <a:pt x="21043" y="264752"/>
                  </a:lnTo>
                  <a:cubicBezTo>
                    <a:pt x="20438" y="265358"/>
                    <a:pt x="19257" y="265358"/>
                    <a:pt x="18046" y="265358"/>
                  </a:cubicBezTo>
                  <a:cubicBezTo>
                    <a:pt x="16229" y="265963"/>
                    <a:pt x="12020" y="266569"/>
                    <a:pt x="7812" y="266569"/>
                  </a:cubicBezTo>
                  <a:lnTo>
                    <a:pt x="2998" y="266569"/>
                  </a:lnTo>
                  <a:cubicBezTo>
                    <a:pt x="1786" y="266569"/>
                    <a:pt x="1211" y="268991"/>
                    <a:pt x="1211" y="268991"/>
                  </a:cubicBezTo>
                  <a:lnTo>
                    <a:pt x="1211" y="271989"/>
                  </a:lnTo>
                  <a:lnTo>
                    <a:pt x="108275" y="271989"/>
                  </a:lnTo>
                  <a:close/>
                  <a:moveTo>
                    <a:pt x="116723" y="259272"/>
                  </a:moveTo>
                  <a:cubicBezTo>
                    <a:pt x="100494" y="260483"/>
                    <a:pt x="77633" y="258666"/>
                    <a:pt x="72819" y="258061"/>
                  </a:cubicBezTo>
                  <a:lnTo>
                    <a:pt x="64402" y="255669"/>
                  </a:lnTo>
                  <a:cubicBezTo>
                    <a:pt x="63191" y="253852"/>
                    <a:pt x="62585" y="252671"/>
                    <a:pt x="62585" y="249643"/>
                  </a:cubicBezTo>
                  <a:cubicBezTo>
                    <a:pt x="61980" y="237623"/>
                    <a:pt x="61980" y="200926"/>
                    <a:pt x="61980" y="173252"/>
                  </a:cubicBezTo>
                  <a:lnTo>
                    <a:pt x="61980" y="98676"/>
                  </a:lnTo>
                  <a:cubicBezTo>
                    <a:pt x="61980" y="71608"/>
                    <a:pt x="61980" y="34911"/>
                    <a:pt x="62585" y="22890"/>
                  </a:cubicBezTo>
                  <a:cubicBezTo>
                    <a:pt x="62585" y="19893"/>
                    <a:pt x="63191" y="18076"/>
                    <a:pt x="64402" y="16865"/>
                  </a:cubicBezTo>
                  <a:lnTo>
                    <a:pt x="72819" y="13867"/>
                  </a:lnTo>
                  <a:cubicBezTo>
                    <a:pt x="77633" y="13262"/>
                    <a:pt x="89048" y="12656"/>
                    <a:pt x="89654" y="12656"/>
                  </a:cubicBezTo>
                  <a:cubicBezTo>
                    <a:pt x="98677" y="12051"/>
                    <a:pt x="105277" y="12051"/>
                    <a:pt x="115512" y="13262"/>
                  </a:cubicBezTo>
                  <a:cubicBezTo>
                    <a:pt x="129349" y="15079"/>
                    <a:pt x="138372" y="18076"/>
                    <a:pt x="138372" y="18076"/>
                  </a:cubicBezTo>
                  <a:cubicBezTo>
                    <a:pt x="148000" y="21074"/>
                    <a:pt x="152209" y="22890"/>
                    <a:pt x="160051" y="27705"/>
                  </a:cubicBezTo>
                  <a:cubicBezTo>
                    <a:pt x="196748" y="48748"/>
                    <a:pt x="220789" y="81236"/>
                    <a:pt x="220789" y="137796"/>
                  </a:cubicBezTo>
                  <a:cubicBezTo>
                    <a:pt x="221395" y="186513"/>
                    <a:pt x="206346" y="223816"/>
                    <a:pt x="172071" y="243648"/>
                  </a:cubicBezTo>
                  <a:cubicBezTo>
                    <a:pt x="155842" y="253277"/>
                    <a:pt x="141399" y="258091"/>
                    <a:pt x="116723" y="259272"/>
                  </a:cubicBezTo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E1F61F5C-4FB1-5B2E-60C2-27DC1AC28CF0}"/>
              </a:ext>
            </a:extLst>
          </p:cNvPr>
          <p:cNvSpPr/>
          <p:nvPr userDrawn="1"/>
        </p:nvSpPr>
        <p:spPr>
          <a:xfrm>
            <a:off x="10693400" y="7561263"/>
            <a:ext cx="0" cy="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err="1"/>
          </a:p>
        </p:txBody>
      </p:sp>
    </p:spTree>
    <p:extLst>
      <p:ext uri="{BB962C8B-B14F-4D97-AF65-F5344CB8AC3E}">
        <p14:creationId xmlns:p14="http://schemas.microsoft.com/office/powerpoint/2010/main" val="8448134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lient Name/Presentation Title">
            <a:extLst>
              <a:ext uri="{FF2B5EF4-FFF2-40B4-BE49-F238E27FC236}">
                <a16:creationId xmlns:a16="http://schemas.microsoft.com/office/drawing/2014/main" id="{DE7C157B-AF46-4A40-B0AF-E4BD80FC4BE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 noProof="0"/>
              <a:t>Lazard RHQ Governance Framework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D25682C-7DFF-4BFC-AB63-0BF0CAFBCE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C959EE7-4D8F-4D0E-BCAF-5FF983548CB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9690100" y="1865376"/>
            <a:ext cx="596900" cy="5117674"/>
          </a:xfrm>
          <a:prstGeom prst="rect">
            <a:avLst/>
          </a:prstGeom>
          <a:solidFill>
            <a:schemeClr val="accent3"/>
          </a:solidFill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900" b="1" err="1">
              <a:solidFill>
                <a:srgbClr val="000000"/>
              </a:solidFill>
              <a:latin typeface="Aptos Narrow" panose="020B0606020202030204" pitchFamily="34" charset="0"/>
            </a:endParaRPr>
          </a:p>
        </p:txBody>
      </p:sp>
      <p:sp>
        <p:nvSpPr>
          <p:cNvPr id="12" name="section slide number">
            <a:hlinkClick r:id="" action="ppaction://noaction"/>
            <a:extLst>
              <a:ext uri="{FF2B5EF4-FFF2-40B4-BE49-F238E27FC236}">
                <a16:creationId xmlns:a16="http://schemas.microsoft.com/office/drawing/2014/main" id="{0B28EF47-3223-42DC-BA87-7E80B90A54BC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263640" y="1865376"/>
            <a:ext cx="375191" cy="18288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b="0" noProof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3" name="slide title">
            <a:extLst>
              <a:ext uri="{FF2B5EF4-FFF2-40B4-BE49-F238E27FC236}">
                <a16:creationId xmlns:a16="http://schemas.microsoft.com/office/drawing/2014/main" id="{F748226B-C0FD-4BD4-8303-C0075382853A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319852" y="2581950"/>
            <a:ext cx="4909502" cy="18288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i="0" noProof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" name="slide page">
            <a:extLst>
              <a:ext uri="{FF2B5EF4-FFF2-40B4-BE49-F238E27FC236}">
                <a16:creationId xmlns:a16="http://schemas.microsoft.com/office/drawing/2014/main" id="{731E88BA-2FB6-4BB1-BC48-5E6EFBABADC1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6263640" y="2581950"/>
            <a:ext cx="375191" cy="18288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i="0" noProof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5" name="subsection name">
            <a:extLst>
              <a:ext uri="{FF2B5EF4-FFF2-40B4-BE49-F238E27FC236}">
                <a16:creationId xmlns:a16="http://schemas.microsoft.com/office/drawing/2014/main" id="{0D630E91-AB06-43CD-B0CF-6A894FFA8C6D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1038034" y="2192649"/>
            <a:ext cx="5040311" cy="18288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i="0" noProof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6" name="subsection slide number">
            <a:extLst>
              <a:ext uri="{FF2B5EF4-FFF2-40B4-BE49-F238E27FC236}">
                <a16:creationId xmlns:a16="http://schemas.microsoft.com/office/drawing/2014/main" id="{33150A45-16F5-4FFC-9538-F2392F15FD79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263640" y="2192649"/>
            <a:ext cx="375191" cy="18288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i="0" noProof="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17" name="section number">
            <a:hlinkClick r:id="" action="ppaction://noaction"/>
            <a:extLst>
              <a:ext uri="{FF2B5EF4-FFF2-40B4-BE49-F238E27FC236}">
                <a16:creationId xmlns:a16="http://schemas.microsoft.com/office/drawing/2014/main" id="{687B9472-14FE-498B-8EA0-42306F00CC8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86063" y="1865376"/>
            <a:ext cx="274320" cy="18288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b="0" noProof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" name="section name">
            <a:hlinkClick r:id="" action="ppaction://noaction"/>
            <a:extLst>
              <a:ext uri="{FF2B5EF4-FFF2-40B4-BE49-F238E27FC236}">
                <a16:creationId xmlns:a16="http://schemas.microsoft.com/office/drawing/2014/main" id="{CACB0C8F-D8F4-4A18-B80C-7B9C8CBA81BB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758952" y="1865376"/>
            <a:ext cx="5213350" cy="1828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b="0" cap="all" noProof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9" name="Text Box">
            <a:extLst>
              <a:ext uri="{FF2B5EF4-FFF2-40B4-BE49-F238E27FC236}">
                <a16:creationId xmlns:a16="http://schemas.microsoft.com/office/drawing/2014/main" id="{CEB41B24-90CA-4A15-B052-A08EB1BC848E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58952" y="2196185"/>
            <a:ext cx="278317" cy="18288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i="0" noProof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1B81225-DF61-B45D-8288-D5100AAFA244}"/>
              </a:ext>
            </a:extLst>
          </p:cNvPr>
          <p:cNvSpPr/>
          <p:nvPr userDrawn="1"/>
        </p:nvSpPr>
        <p:spPr>
          <a:xfrm>
            <a:off x="486063" y="469054"/>
            <a:ext cx="6152769" cy="584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97EC30-47D1-B244-E6D4-0A9F4DA02A5E}"/>
              </a:ext>
            </a:extLst>
          </p:cNvPr>
          <p:cNvSpPr/>
          <p:nvPr userDrawn="1"/>
        </p:nvSpPr>
        <p:spPr>
          <a:xfrm>
            <a:off x="486063" y="644021"/>
            <a:ext cx="457200" cy="2743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0DFDE8-63E3-F297-73F3-D0343160C791}"/>
              </a:ext>
            </a:extLst>
          </p:cNvPr>
          <p:cNvSpPr/>
          <p:nvPr userDrawn="1"/>
        </p:nvSpPr>
        <p:spPr>
          <a:xfrm>
            <a:off x="943263" y="644021"/>
            <a:ext cx="457200" cy="274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A7E7B0-E02C-3D39-7571-08B6D9A96960}"/>
              </a:ext>
            </a:extLst>
          </p:cNvPr>
          <p:cNvSpPr/>
          <p:nvPr userDrawn="1"/>
        </p:nvSpPr>
        <p:spPr>
          <a:xfrm>
            <a:off x="1400463" y="644021"/>
            <a:ext cx="457200" cy="274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EC0DAD-11F2-4208-40AB-4462588E68BB}"/>
              </a:ext>
            </a:extLst>
          </p:cNvPr>
          <p:cNvSpPr/>
          <p:nvPr userDrawn="1"/>
        </p:nvSpPr>
        <p:spPr>
          <a:xfrm>
            <a:off x="1857663" y="644021"/>
            <a:ext cx="457200" cy="2743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D864939-BCC2-5B21-8CE6-C9E4449E3F5E}"/>
              </a:ext>
            </a:extLst>
          </p:cNvPr>
          <p:cNvSpPr/>
          <p:nvPr userDrawn="1"/>
        </p:nvSpPr>
        <p:spPr>
          <a:xfrm>
            <a:off x="2314863" y="644021"/>
            <a:ext cx="457200" cy="274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40AD48-06B6-1DD4-1509-A5BB5196E4CD}"/>
              </a:ext>
            </a:extLst>
          </p:cNvPr>
          <p:cNvSpPr txBox="1"/>
          <p:nvPr userDrawn="1"/>
        </p:nvSpPr>
        <p:spPr>
          <a:xfrm>
            <a:off x="6696112" y="367504"/>
            <a:ext cx="31749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noProof="0">
                <a:solidFill>
                  <a:schemeClr val="tx2"/>
                </a:solidFill>
              </a:rPr>
              <a:t>Use Smart Guides to align TOC components: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noProof="0">
                <a:solidFill>
                  <a:schemeClr val="tx2"/>
                </a:solidFill>
              </a:rPr>
              <a:t>Modify rectangle width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noProof="0">
                <a:solidFill>
                  <a:schemeClr val="tx2"/>
                </a:solidFill>
              </a:rPr>
              <a:t>Align rectangle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noProof="0">
                <a:solidFill>
                  <a:schemeClr val="tx2"/>
                </a:solidFill>
              </a:rPr>
              <a:t>Drag TOC components to align 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9EFE5B61-D2D1-F5E0-7836-E7BEF29688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6341" y="6983049"/>
            <a:ext cx="680995" cy="177912"/>
          </a:xfrm>
          <a:prstGeom prst="rect">
            <a:avLst/>
          </a:prstGeom>
        </p:spPr>
        <p:txBody>
          <a:bodyPr vert="horz" wrap="none" lIns="0" tIns="0" rIns="91440" bIns="0" rtlCol="0" anchor="ctr" anchorCtr="0"/>
          <a:lstStyle>
            <a:lvl1pPr algn="r">
              <a:defRPr lang="en-US" sz="1100" b="0" i="0" baseline="0" smtClean="0">
                <a:solidFill>
                  <a:schemeClr val="tx1"/>
                </a:solidFill>
                <a:latin typeface="+mn-lt"/>
              </a:defRPr>
            </a:lvl1pPr>
          </a:lstStyle>
          <a:p>
            <a:fld id="{56E40FF2-FFFD-41B2-ABEF-2650AB17DAE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Slide Number Line 2">
            <a:extLst>
              <a:ext uri="{FF2B5EF4-FFF2-40B4-BE49-F238E27FC236}">
                <a16:creationId xmlns:a16="http://schemas.microsoft.com/office/drawing/2014/main" id="{F6D0F78C-FA56-91A8-E54D-A7920D0B8141}"/>
              </a:ext>
            </a:extLst>
          </p:cNvPr>
          <p:cNvSpPr>
            <a:spLocks noChangeShapeType="1"/>
          </p:cNvSpPr>
          <p:nvPr userDrawn="1"/>
        </p:nvSpPr>
        <p:spPr bwMode="gray">
          <a:xfrm>
            <a:off x="10207336" y="6983049"/>
            <a:ext cx="0" cy="1779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0" name="MainLogo">
            <a:extLst>
              <a:ext uri="{FF2B5EF4-FFF2-40B4-BE49-F238E27FC236}">
                <a16:creationId xmlns:a16="http://schemas.microsoft.com/office/drawing/2014/main" id="{E047E397-5D60-8ED3-9490-020FAF940326}"/>
              </a:ext>
            </a:extLst>
          </p:cNvPr>
          <p:cNvGrpSpPr/>
          <p:nvPr userDrawn="1"/>
        </p:nvGrpSpPr>
        <p:grpSpPr>
          <a:xfrm>
            <a:off x="486664" y="6995460"/>
            <a:ext cx="801858" cy="150418"/>
            <a:chOff x="450851" y="7519507"/>
            <a:chExt cx="801858" cy="150418"/>
          </a:xfrm>
          <a:solidFill>
            <a:schemeClr val="tx1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88E9A6E-2383-A04D-17F2-73F9DBF732D4}"/>
                </a:ext>
              </a:extLst>
            </p:cNvPr>
            <p:cNvSpPr/>
            <p:nvPr/>
          </p:nvSpPr>
          <p:spPr>
            <a:xfrm>
              <a:off x="727769" y="7539586"/>
              <a:ext cx="105639" cy="130296"/>
            </a:xfrm>
            <a:custGeom>
              <a:avLst/>
              <a:gdLst>
                <a:gd name="connsiteX0" fmla="*/ 215400 w 221424"/>
                <a:gd name="connsiteY0" fmla="*/ 2422 h 273108"/>
                <a:gd name="connsiteX1" fmla="*/ 219003 w 221424"/>
                <a:gd name="connsiteY1" fmla="*/ 2422 h 273108"/>
                <a:gd name="connsiteX2" fmla="*/ 221425 w 221424"/>
                <a:gd name="connsiteY2" fmla="*/ 4845 h 273108"/>
                <a:gd name="connsiteX3" fmla="*/ 219608 w 221424"/>
                <a:gd name="connsiteY3" fmla="*/ 9053 h 273108"/>
                <a:gd name="connsiteX4" fmla="*/ 45750 w 221424"/>
                <a:gd name="connsiteY4" fmla="*/ 257485 h 273108"/>
                <a:gd name="connsiteX5" fmla="*/ 137796 w 221424"/>
                <a:gd name="connsiteY5" fmla="*/ 256880 h 273108"/>
                <a:gd name="connsiteX6" fmla="*/ 199746 w 221424"/>
                <a:gd name="connsiteY6" fmla="*/ 239440 h 273108"/>
                <a:gd name="connsiteX7" fmla="*/ 207558 w 221424"/>
                <a:gd name="connsiteY7" fmla="*/ 220183 h 273108"/>
                <a:gd name="connsiteX8" fmla="*/ 211161 w 221424"/>
                <a:gd name="connsiteY8" fmla="*/ 214157 h 273108"/>
                <a:gd name="connsiteX9" fmla="*/ 214764 w 221424"/>
                <a:gd name="connsiteY9" fmla="*/ 214157 h 273108"/>
                <a:gd name="connsiteX10" fmla="*/ 206346 w 221424"/>
                <a:gd name="connsiteY10" fmla="*/ 263480 h 273108"/>
                <a:gd name="connsiteX11" fmla="*/ 194326 w 221424"/>
                <a:gd name="connsiteY11" fmla="*/ 273109 h 273108"/>
                <a:gd name="connsiteX12" fmla="*/ 6025 w 221424"/>
                <a:gd name="connsiteY12" fmla="*/ 273109 h 273108"/>
                <a:gd name="connsiteX13" fmla="*/ 0 w 221424"/>
                <a:gd name="connsiteY13" fmla="*/ 268295 h 273108"/>
                <a:gd name="connsiteX14" fmla="*/ 5420 w 221424"/>
                <a:gd name="connsiteY14" fmla="*/ 258061 h 273108"/>
                <a:gd name="connsiteX15" fmla="*/ 141975 w 221424"/>
                <a:gd name="connsiteY15" fmla="*/ 78814 h 273108"/>
                <a:gd name="connsiteX16" fmla="*/ 182881 w 221424"/>
                <a:gd name="connsiteY16" fmla="*/ 21649 h 273108"/>
                <a:gd name="connsiteX17" fmla="*/ 186484 w 221424"/>
                <a:gd name="connsiteY17" fmla="*/ 16835 h 273108"/>
                <a:gd name="connsiteX18" fmla="*/ 89018 w 221424"/>
                <a:gd name="connsiteY18" fmla="*/ 17440 h 273108"/>
                <a:gd name="connsiteX19" fmla="*/ 60163 w 221424"/>
                <a:gd name="connsiteY19" fmla="*/ 19227 h 273108"/>
                <a:gd name="connsiteX20" fmla="*/ 42723 w 221424"/>
                <a:gd name="connsiteY20" fmla="*/ 24646 h 273108"/>
                <a:gd name="connsiteX21" fmla="*/ 20468 w 221424"/>
                <a:gd name="connsiteY21" fmla="*/ 52926 h 273108"/>
                <a:gd name="connsiteX22" fmla="*/ 16259 w 221424"/>
                <a:gd name="connsiteY22" fmla="*/ 59527 h 273108"/>
                <a:gd name="connsiteX23" fmla="*/ 13837 w 221424"/>
                <a:gd name="connsiteY23" fmla="*/ 54713 h 273108"/>
                <a:gd name="connsiteX24" fmla="*/ 21649 w 221424"/>
                <a:gd name="connsiteY24" fmla="*/ 7206 h 273108"/>
                <a:gd name="connsiteX25" fmla="*/ 25252 w 221424"/>
                <a:gd name="connsiteY25" fmla="*/ 0 h 273108"/>
                <a:gd name="connsiteX26" fmla="*/ 38484 w 221424"/>
                <a:gd name="connsiteY26" fmla="*/ 1817 h 273108"/>
                <a:gd name="connsiteX27" fmla="*/ 108850 w 221424"/>
                <a:gd name="connsiteY27" fmla="*/ 1817 h 273108"/>
                <a:gd name="connsiteX28" fmla="*/ 215339 w 221424"/>
                <a:gd name="connsiteY28" fmla="*/ 2422 h 273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21424" h="273108">
                  <a:moveTo>
                    <a:pt x="215400" y="2422"/>
                  </a:moveTo>
                  <a:lnTo>
                    <a:pt x="219003" y="2422"/>
                  </a:lnTo>
                  <a:cubicBezTo>
                    <a:pt x="220819" y="3028"/>
                    <a:pt x="221425" y="3633"/>
                    <a:pt x="221425" y="4845"/>
                  </a:cubicBezTo>
                  <a:cubicBezTo>
                    <a:pt x="221425" y="6661"/>
                    <a:pt x="221425" y="7267"/>
                    <a:pt x="219608" y="9053"/>
                  </a:cubicBezTo>
                  <a:cubicBezTo>
                    <a:pt x="162443" y="92076"/>
                    <a:pt x="105308" y="175068"/>
                    <a:pt x="45750" y="257485"/>
                  </a:cubicBezTo>
                  <a:lnTo>
                    <a:pt x="137796" y="256880"/>
                  </a:lnTo>
                  <a:cubicBezTo>
                    <a:pt x="178702" y="256880"/>
                    <a:pt x="191328" y="250249"/>
                    <a:pt x="199746" y="239440"/>
                  </a:cubicBezTo>
                  <a:cubicBezTo>
                    <a:pt x="203349" y="234625"/>
                    <a:pt x="206952" y="224997"/>
                    <a:pt x="207558" y="220183"/>
                  </a:cubicBezTo>
                  <a:cubicBezTo>
                    <a:pt x="208163" y="216580"/>
                    <a:pt x="211161" y="214157"/>
                    <a:pt x="211161" y="214157"/>
                  </a:cubicBezTo>
                  <a:lnTo>
                    <a:pt x="214764" y="214157"/>
                  </a:lnTo>
                  <a:cubicBezTo>
                    <a:pt x="214764" y="214157"/>
                    <a:pt x="208738" y="254458"/>
                    <a:pt x="206346" y="263480"/>
                  </a:cubicBezTo>
                  <a:cubicBezTo>
                    <a:pt x="203954" y="272503"/>
                    <a:pt x="203349" y="273109"/>
                    <a:pt x="194326" y="273109"/>
                  </a:cubicBezTo>
                  <a:lnTo>
                    <a:pt x="6025" y="273109"/>
                  </a:lnTo>
                  <a:cubicBezTo>
                    <a:pt x="1817" y="273109"/>
                    <a:pt x="0" y="270687"/>
                    <a:pt x="0" y="268295"/>
                  </a:cubicBezTo>
                  <a:cubicBezTo>
                    <a:pt x="0" y="266478"/>
                    <a:pt x="1211" y="264692"/>
                    <a:pt x="5420" y="258061"/>
                  </a:cubicBezTo>
                  <a:cubicBezTo>
                    <a:pt x="48718" y="198504"/>
                    <a:pt x="97435" y="138946"/>
                    <a:pt x="141975" y="78814"/>
                  </a:cubicBezTo>
                  <a:cubicBezTo>
                    <a:pt x="155812" y="60163"/>
                    <a:pt x="169649" y="40906"/>
                    <a:pt x="182881" y="21649"/>
                  </a:cubicBezTo>
                  <a:cubicBezTo>
                    <a:pt x="184092" y="19832"/>
                    <a:pt x="185303" y="18651"/>
                    <a:pt x="186484" y="16835"/>
                  </a:cubicBezTo>
                  <a:lnTo>
                    <a:pt x="89018" y="17440"/>
                  </a:lnTo>
                  <a:cubicBezTo>
                    <a:pt x="76998" y="17440"/>
                    <a:pt x="67975" y="18046"/>
                    <a:pt x="60163" y="19227"/>
                  </a:cubicBezTo>
                  <a:cubicBezTo>
                    <a:pt x="53532" y="20438"/>
                    <a:pt x="47537" y="22224"/>
                    <a:pt x="42723" y="24646"/>
                  </a:cubicBezTo>
                  <a:cubicBezTo>
                    <a:pt x="28885" y="31247"/>
                    <a:pt x="20468" y="52926"/>
                    <a:pt x="20468" y="52926"/>
                  </a:cubicBezTo>
                  <a:lnTo>
                    <a:pt x="16259" y="59527"/>
                  </a:lnTo>
                  <a:cubicBezTo>
                    <a:pt x="16259" y="59527"/>
                    <a:pt x="13837" y="57740"/>
                    <a:pt x="13837" y="54713"/>
                  </a:cubicBezTo>
                  <a:cubicBezTo>
                    <a:pt x="13837" y="50504"/>
                    <a:pt x="19257" y="18015"/>
                    <a:pt x="21649" y="7206"/>
                  </a:cubicBezTo>
                  <a:cubicBezTo>
                    <a:pt x="22255" y="1786"/>
                    <a:pt x="25252" y="0"/>
                    <a:pt x="25252" y="0"/>
                  </a:cubicBezTo>
                  <a:cubicBezTo>
                    <a:pt x="25252" y="0"/>
                    <a:pt x="27644" y="1817"/>
                    <a:pt x="38484" y="1817"/>
                  </a:cubicBezTo>
                  <a:lnTo>
                    <a:pt x="108850" y="1817"/>
                  </a:lnTo>
                  <a:lnTo>
                    <a:pt x="215339" y="2422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B3FE3A7-6D1B-BB5D-1C39-333E12A43C79}"/>
                </a:ext>
              </a:extLst>
            </p:cNvPr>
            <p:cNvSpPr/>
            <p:nvPr/>
          </p:nvSpPr>
          <p:spPr>
            <a:xfrm>
              <a:off x="579704" y="7536212"/>
              <a:ext cx="136306" cy="133685"/>
            </a:xfrm>
            <a:custGeom>
              <a:avLst/>
              <a:gdLst>
                <a:gd name="connsiteX0" fmla="*/ 266509 w 285705"/>
                <a:gd name="connsiteY0" fmla="*/ 272975 h 280211"/>
                <a:gd name="connsiteX1" fmla="*/ 235837 w 285705"/>
                <a:gd name="connsiteY1" fmla="*/ 234461 h 280211"/>
                <a:gd name="connsiteX2" fmla="*/ 138977 w 285705"/>
                <a:gd name="connsiteY2" fmla="*/ 1077 h 280211"/>
                <a:gd name="connsiteX3" fmla="*/ 136555 w 285705"/>
                <a:gd name="connsiteY3" fmla="*/ 2288 h 280211"/>
                <a:gd name="connsiteX4" fmla="*/ 45720 w 285705"/>
                <a:gd name="connsiteY4" fmla="*/ 239306 h 280211"/>
                <a:gd name="connsiteX5" fmla="*/ 14443 w 285705"/>
                <a:gd name="connsiteY5" fmla="*/ 274186 h 280211"/>
                <a:gd name="connsiteX6" fmla="*/ 0 w 285705"/>
                <a:gd name="connsiteY6" fmla="*/ 275397 h 280211"/>
                <a:gd name="connsiteX7" fmla="*/ 0 w 285705"/>
                <a:gd name="connsiteY7" fmla="*/ 277214 h 280211"/>
                <a:gd name="connsiteX8" fmla="*/ 7206 w 285705"/>
                <a:gd name="connsiteY8" fmla="*/ 280212 h 280211"/>
                <a:gd name="connsiteX9" fmla="*/ 78784 w 285705"/>
                <a:gd name="connsiteY9" fmla="*/ 280212 h 280211"/>
                <a:gd name="connsiteX10" fmla="*/ 84204 w 285705"/>
                <a:gd name="connsiteY10" fmla="*/ 277214 h 280211"/>
                <a:gd name="connsiteX11" fmla="*/ 84204 w 285705"/>
                <a:gd name="connsiteY11" fmla="*/ 276003 h 280211"/>
                <a:gd name="connsiteX12" fmla="*/ 76998 w 285705"/>
                <a:gd name="connsiteY12" fmla="*/ 275397 h 280211"/>
                <a:gd name="connsiteX13" fmla="*/ 62555 w 285705"/>
                <a:gd name="connsiteY13" fmla="*/ 264558 h 280211"/>
                <a:gd name="connsiteX14" fmla="*/ 67975 w 285705"/>
                <a:gd name="connsiteY14" fmla="*/ 239306 h 280211"/>
                <a:gd name="connsiteX15" fmla="*/ 92046 w 285705"/>
                <a:gd name="connsiteY15" fmla="*/ 169515 h 280211"/>
                <a:gd name="connsiteX16" fmla="*/ 176855 w 285705"/>
                <a:gd name="connsiteY16" fmla="*/ 170120 h 280211"/>
                <a:gd name="connsiteX17" fmla="*/ 212947 w 285705"/>
                <a:gd name="connsiteY17" fmla="*/ 264558 h 280211"/>
                <a:gd name="connsiteX18" fmla="*/ 210525 w 285705"/>
                <a:gd name="connsiteY18" fmla="*/ 274186 h 280211"/>
                <a:gd name="connsiteX19" fmla="*/ 208102 w 285705"/>
                <a:gd name="connsiteY19" fmla="*/ 277184 h 280211"/>
                <a:gd name="connsiteX20" fmla="*/ 218942 w 285705"/>
                <a:gd name="connsiteY20" fmla="*/ 280181 h 280211"/>
                <a:gd name="connsiteX21" fmla="*/ 277894 w 285705"/>
                <a:gd name="connsiteY21" fmla="*/ 280181 h 280211"/>
                <a:gd name="connsiteX22" fmla="*/ 285706 w 285705"/>
                <a:gd name="connsiteY22" fmla="*/ 277184 h 280211"/>
                <a:gd name="connsiteX23" fmla="*/ 285100 w 285705"/>
                <a:gd name="connsiteY23" fmla="*/ 275367 h 280211"/>
                <a:gd name="connsiteX24" fmla="*/ 266449 w 285705"/>
                <a:gd name="connsiteY24" fmla="*/ 272945 h 280211"/>
                <a:gd name="connsiteX25" fmla="*/ 95619 w 285705"/>
                <a:gd name="connsiteY25" fmla="*/ 156253 h 280211"/>
                <a:gd name="connsiteX26" fmla="*/ 133527 w 285705"/>
                <a:gd name="connsiteY26" fmla="*/ 47373 h 280211"/>
                <a:gd name="connsiteX27" fmla="*/ 172011 w 285705"/>
                <a:gd name="connsiteY27" fmla="*/ 156253 h 280211"/>
                <a:gd name="connsiteX28" fmla="*/ 95619 w 285705"/>
                <a:gd name="connsiteY28" fmla="*/ 156253 h 28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5705" h="280211">
                  <a:moveTo>
                    <a:pt x="266509" y="272975"/>
                  </a:moveTo>
                  <a:cubicBezTo>
                    <a:pt x="259303" y="270583"/>
                    <a:pt x="249069" y="265163"/>
                    <a:pt x="235837" y="234461"/>
                  </a:cubicBezTo>
                  <a:lnTo>
                    <a:pt x="138977" y="1077"/>
                  </a:lnTo>
                  <a:cubicBezTo>
                    <a:pt x="137766" y="-1920"/>
                    <a:pt x="136555" y="2288"/>
                    <a:pt x="136555" y="2288"/>
                  </a:cubicBezTo>
                  <a:lnTo>
                    <a:pt x="45720" y="239306"/>
                  </a:lnTo>
                  <a:cubicBezTo>
                    <a:pt x="39120" y="257957"/>
                    <a:pt x="31883" y="272400"/>
                    <a:pt x="14443" y="274186"/>
                  </a:cubicBezTo>
                  <a:cubicBezTo>
                    <a:pt x="11445" y="274792"/>
                    <a:pt x="0" y="275397"/>
                    <a:pt x="0" y="275397"/>
                  </a:cubicBezTo>
                  <a:lnTo>
                    <a:pt x="0" y="277214"/>
                  </a:lnTo>
                  <a:cubicBezTo>
                    <a:pt x="0" y="277214"/>
                    <a:pt x="2392" y="280212"/>
                    <a:pt x="7206" y="280212"/>
                  </a:cubicBezTo>
                  <a:lnTo>
                    <a:pt x="78784" y="280212"/>
                  </a:lnTo>
                  <a:cubicBezTo>
                    <a:pt x="82387" y="280212"/>
                    <a:pt x="84204" y="277214"/>
                    <a:pt x="84204" y="277214"/>
                  </a:cubicBezTo>
                  <a:lnTo>
                    <a:pt x="84204" y="276003"/>
                  </a:lnTo>
                  <a:lnTo>
                    <a:pt x="76998" y="275397"/>
                  </a:lnTo>
                  <a:cubicBezTo>
                    <a:pt x="70367" y="275397"/>
                    <a:pt x="62555" y="271794"/>
                    <a:pt x="62555" y="264558"/>
                  </a:cubicBezTo>
                  <a:cubicBezTo>
                    <a:pt x="62555" y="257321"/>
                    <a:pt x="64341" y="248329"/>
                    <a:pt x="67975" y="239306"/>
                  </a:cubicBezTo>
                  <a:lnTo>
                    <a:pt x="92046" y="169515"/>
                  </a:lnTo>
                  <a:lnTo>
                    <a:pt x="176855" y="170120"/>
                  </a:lnTo>
                  <a:lnTo>
                    <a:pt x="212947" y="264558"/>
                  </a:lnTo>
                  <a:cubicBezTo>
                    <a:pt x="215339" y="270583"/>
                    <a:pt x="212947" y="273581"/>
                    <a:pt x="210525" y="274186"/>
                  </a:cubicBezTo>
                  <a:cubicBezTo>
                    <a:pt x="209314" y="274792"/>
                    <a:pt x="208102" y="275397"/>
                    <a:pt x="208102" y="277184"/>
                  </a:cubicBezTo>
                  <a:cubicBezTo>
                    <a:pt x="208102" y="279576"/>
                    <a:pt x="211706" y="280181"/>
                    <a:pt x="218942" y="280181"/>
                  </a:cubicBezTo>
                  <a:lnTo>
                    <a:pt x="277894" y="280181"/>
                  </a:lnTo>
                  <a:cubicBezTo>
                    <a:pt x="282103" y="280181"/>
                    <a:pt x="285706" y="277184"/>
                    <a:pt x="285706" y="277184"/>
                  </a:cubicBezTo>
                  <a:lnTo>
                    <a:pt x="285100" y="275367"/>
                  </a:lnTo>
                  <a:cubicBezTo>
                    <a:pt x="285100" y="275367"/>
                    <a:pt x="272474" y="274762"/>
                    <a:pt x="266449" y="272945"/>
                  </a:cubicBezTo>
                  <a:moveTo>
                    <a:pt x="95619" y="156253"/>
                  </a:moveTo>
                  <a:lnTo>
                    <a:pt x="133527" y="47373"/>
                  </a:lnTo>
                  <a:lnTo>
                    <a:pt x="172011" y="156253"/>
                  </a:lnTo>
                  <a:lnTo>
                    <a:pt x="95619" y="156253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DABF543-B3D5-FB39-96A5-57404926771E}"/>
                </a:ext>
              </a:extLst>
            </p:cNvPr>
            <p:cNvSpPr/>
            <p:nvPr/>
          </p:nvSpPr>
          <p:spPr>
            <a:xfrm>
              <a:off x="840573" y="7536212"/>
              <a:ext cx="136032" cy="133685"/>
            </a:xfrm>
            <a:custGeom>
              <a:avLst/>
              <a:gdLst>
                <a:gd name="connsiteX0" fmla="*/ 266509 w 285130"/>
                <a:gd name="connsiteY0" fmla="*/ 272975 h 280211"/>
                <a:gd name="connsiteX1" fmla="*/ 235837 w 285130"/>
                <a:gd name="connsiteY1" fmla="*/ 234461 h 280211"/>
                <a:gd name="connsiteX2" fmla="*/ 138977 w 285130"/>
                <a:gd name="connsiteY2" fmla="*/ 1077 h 280211"/>
                <a:gd name="connsiteX3" fmla="*/ 136555 w 285130"/>
                <a:gd name="connsiteY3" fmla="*/ 2288 h 280211"/>
                <a:gd name="connsiteX4" fmla="*/ 45720 w 285130"/>
                <a:gd name="connsiteY4" fmla="*/ 239306 h 280211"/>
                <a:gd name="connsiteX5" fmla="*/ 14443 w 285130"/>
                <a:gd name="connsiteY5" fmla="*/ 274186 h 280211"/>
                <a:gd name="connsiteX6" fmla="*/ 0 w 285130"/>
                <a:gd name="connsiteY6" fmla="*/ 275397 h 280211"/>
                <a:gd name="connsiteX7" fmla="*/ 0 w 285130"/>
                <a:gd name="connsiteY7" fmla="*/ 277214 h 280211"/>
                <a:gd name="connsiteX8" fmla="*/ 7206 w 285130"/>
                <a:gd name="connsiteY8" fmla="*/ 280212 h 280211"/>
                <a:gd name="connsiteX9" fmla="*/ 78784 w 285130"/>
                <a:gd name="connsiteY9" fmla="*/ 280212 h 280211"/>
                <a:gd name="connsiteX10" fmla="*/ 84204 w 285130"/>
                <a:gd name="connsiteY10" fmla="*/ 277214 h 280211"/>
                <a:gd name="connsiteX11" fmla="*/ 84204 w 285130"/>
                <a:gd name="connsiteY11" fmla="*/ 276003 h 280211"/>
                <a:gd name="connsiteX12" fmla="*/ 76998 w 285130"/>
                <a:gd name="connsiteY12" fmla="*/ 275397 h 280211"/>
                <a:gd name="connsiteX13" fmla="*/ 62555 w 285130"/>
                <a:gd name="connsiteY13" fmla="*/ 264558 h 280211"/>
                <a:gd name="connsiteX14" fmla="*/ 67975 w 285130"/>
                <a:gd name="connsiteY14" fmla="*/ 239306 h 280211"/>
                <a:gd name="connsiteX15" fmla="*/ 92046 w 285130"/>
                <a:gd name="connsiteY15" fmla="*/ 169515 h 280211"/>
                <a:gd name="connsiteX16" fmla="*/ 176855 w 285130"/>
                <a:gd name="connsiteY16" fmla="*/ 170120 h 280211"/>
                <a:gd name="connsiteX17" fmla="*/ 212947 w 285130"/>
                <a:gd name="connsiteY17" fmla="*/ 264558 h 280211"/>
                <a:gd name="connsiteX18" fmla="*/ 210525 w 285130"/>
                <a:gd name="connsiteY18" fmla="*/ 274186 h 280211"/>
                <a:gd name="connsiteX19" fmla="*/ 208133 w 285130"/>
                <a:gd name="connsiteY19" fmla="*/ 277184 h 280211"/>
                <a:gd name="connsiteX20" fmla="*/ 218972 w 285130"/>
                <a:gd name="connsiteY20" fmla="*/ 280181 h 280211"/>
                <a:gd name="connsiteX21" fmla="*/ 277924 w 285130"/>
                <a:gd name="connsiteY21" fmla="*/ 280181 h 280211"/>
                <a:gd name="connsiteX22" fmla="*/ 285130 w 285130"/>
                <a:gd name="connsiteY22" fmla="*/ 277184 h 280211"/>
                <a:gd name="connsiteX23" fmla="*/ 285130 w 285130"/>
                <a:gd name="connsiteY23" fmla="*/ 275367 h 280211"/>
                <a:gd name="connsiteX24" fmla="*/ 266479 w 285130"/>
                <a:gd name="connsiteY24" fmla="*/ 272945 h 280211"/>
                <a:gd name="connsiteX25" fmla="*/ 95649 w 285130"/>
                <a:gd name="connsiteY25" fmla="*/ 156253 h 280211"/>
                <a:gd name="connsiteX26" fmla="*/ 133557 w 285130"/>
                <a:gd name="connsiteY26" fmla="*/ 47373 h 280211"/>
                <a:gd name="connsiteX27" fmla="*/ 172041 w 285130"/>
                <a:gd name="connsiteY27" fmla="*/ 156253 h 280211"/>
                <a:gd name="connsiteX28" fmla="*/ 95649 w 285130"/>
                <a:gd name="connsiteY28" fmla="*/ 156253 h 28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5130" h="280211">
                  <a:moveTo>
                    <a:pt x="266509" y="272975"/>
                  </a:moveTo>
                  <a:cubicBezTo>
                    <a:pt x="259303" y="270583"/>
                    <a:pt x="248463" y="265163"/>
                    <a:pt x="235837" y="234461"/>
                  </a:cubicBezTo>
                  <a:lnTo>
                    <a:pt x="138977" y="1077"/>
                  </a:lnTo>
                  <a:cubicBezTo>
                    <a:pt x="137766" y="-1920"/>
                    <a:pt x="136555" y="2288"/>
                    <a:pt x="136555" y="2288"/>
                  </a:cubicBezTo>
                  <a:lnTo>
                    <a:pt x="45720" y="239306"/>
                  </a:lnTo>
                  <a:cubicBezTo>
                    <a:pt x="39119" y="257957"/>
                    <a:pt x="31277" y="272400"/>
                    <a:pt x="14443" y="274186"/>
                  </a:cubicBezTo>
                  <a:cubicBezTo>
                    <a:pt x="11445" y="274792"/>
                    <a:pt x="0" y="275397"/>
                    <a:pt x="0" y="275397"/>
                  </a:cubicBezTo>
                  <a:lnTo>
                    <a:pt x="0" y="277214"/>
                  </a:lnTo>
                  <a:cubicBezTo>
                    <a:pt x="0" y="277214"/>
                    <a:pt x="2422" y="280212"/>
                    <a:pt x="7206" y="280212"/>
                  </a:cubicBezTo>
                  <a:lnTo>
                    <a:pt x="78784" y="280212"/>
                  </a:lnTo>
                  <a:cubicBezTo>
                    <a:pt x="82387" y="280212"/>
                    <a:pt x="84204" y="277214"/>
                    <a:pt x="84204" y="277214"/>
                  </a:cubicBezTo>
                  <a:lnTo>
                    <a:pt x="84204" y="276003"/>
                  </a:lnTo>
                  <a:lnTo>
                    <a:pt x="76998" y="275397"/>
                  </a:lnTo>
                  <a:cubicBezTo>
                    <a:pt x="70367" y="275397"/>
                    <a:pt x="62555" y="271794"/>
                    <a:pt x="62555" y="264558"/>
                  </a:cubicBezTo>
                  <a:cubicBezTo>
                    <a:pt x="62555" y="257321"/>
                    <a:pt x="64341" y="248329"/>
                    <a:pt x="67975" y="239306"/>
                  </a:cubicBezTo>
                  <a:lnTo>
                    <a:pt x="92046" y="169515"/>
                  </a:lnTo>
                  <a:lnTo>
                    <a:pt x="176855" y="170120"/>
                  </a:lnTo>
                  <a:lnTo>
                    <a:pt x="212947" y="264558"/>
                  </a:lnTo>
                  <a:cubicBezTo>
                    <a:pt x="214733" y="270583"/>
                    <a:pt x="212947" y="273581"/>
                    <a:pt x="210525" y="274186"/>
                  </a:cubicBezTo>
                  <a:cubicBezTo>
                    <a:pt x="208708" y="274792"/>
                    <a:pt x="208133" y="275397"/>
                    <a:pt x="208133" y="277184"/>
                  </a:cubicBezTo>
                  <a:cubicBezTo>
                    <a:pt x="208133" y="279576"/>
                    <a:pt x="211736" y="280181"/>
                    <a:pt x="218972" y="280181"/>
                  </a:cubicBezTo>
                  <a:lnTo>
                    <a:pt x="277924" y="280181"/>
                  </a:lnTo>
                  <a:cubicBezTo>
                    <a:pt x="282133" y="280181"/>
                    <a:pt x="285130" y="277184"/>
                    <a:pt x="285130" y="277184"/>
                  </a:cubicBezTo>
                  <a:lnTo>
                    <a:pt x="285130" y="275367"/>
                  </a:lnTo>
                  <a:cubicBezTo>
                    <a:pt x="285130" y="275367"/>
                    <a:pt x="272504" y="274762"/>
                    <a:pt x="266479" y="272945"/>
                  </a:cubicBezTo>
                  <a:moveTo>
                    <a:pt x="95649" y="156253"/>
                  </a:moveTo>
                  <a:lnTo>
                    <a:pt x="133557" y="47373"/>
                  </a:lnTo>
                  <a:lnTo>
                    <a:pt x="172041" y="156253"/>
                  </a:lnTo>
                  <a:lnTo>
                    <a:pt x="95649" y="156253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F715E5-6FD1-159B-95B8-77EA9E559AA2}"/>
                </a:ext>
              </a:extLst>
            </p:cNvPr>
            <p:cNvSpPr/>
            <p:nvPr/>
          </p:nvSpPr>
          <p:spPr>
            <a:xfrm>
              <a:off x="450851" y="7519507"/>
              <a:ext cx="118813" cy="150376"/>
            </a:xfrm>
            <a:custGeom>
              <a:avLst/>
              <a:gdLst>
                <a:gd name="connsiteX0" fmla="*/ 7812 w 249038"/>
                <a:gd name="connsiteY0" fmla="*/ 315196 h 315195"/>
                <a:gd name="connsiteX1" fmla="*/ 2392 w 249038"/>
                <a:gd name="connsiteY1" fmla="*/ 311592 h 315195"/>
                <a:gd name="connsiteX2" fmla="*/ 2392 w 249038"/>
                <a:gd name="connsiteY2" fmla="*/ 309776 h 315195"/>
                <a:gd name="connsiteX3" fmla="*/ 16229 w 249038"/>
                <a:gd name="connsiteY3" fmla="*/ 307989 h 315195"/>
                <a:gd name="connsiteX4" fmla="*/ 30066 w 249038"/>
                <a:gd name="connsiteY4" fmla="*/ 287552 h 315195"/>
                <a:gd name="connsiteX5" fmla="*/ 31853 w 249038"/>
                <a:gd name="connsiteY5" fmla="*/ 208738 h 315195"/>
                <a:gd name="connsiteX6" fmla="*/ 31853 w 249038"/>
                <a:gd name="connsiteY6" fmla="*/ 144366 h 315195"/>
                <a:gd name="connsiteX7" fmla="*/ 30642 w 249038"/>
                <a:gd name="connsiteY7" fmla="*/ 27069 h 315195"/>
                <a:gd name="connsiteX8" fmla="*/ 15018 w 249038"/>
                <a:gd name="connsiteY8" fmla="*/ 6601 h 315195"/>
                <a:gd name="connsiteX9" fmla="*/ 2998 w 249038"/>
                <a:gd name="connsiteY9" fmla="*/ 5390 h 315195"/>
                <a:gd name="connsiteX10" fmla="*/ 0 w 249038"/>
                <a:gd name="connsiteY10" fmla="*/ 3603 h 315195"/>
                <a:gd name="connsiteX11" fmla="*/ 606 w 249038"/>
                <a:gd name="connsiteY11" fmla="*/ 0 h 315195"/>
                <a:gd name="connsiteX12" fmla="*/ 49323 w 249038"/>
                <a:gd name="connsiteY12" fmla="*/ 1786 h 315195"/>
                <a:gd name="connsiteX13" fmla="*/ 93832 w 249038"/>
                <a:gd name="connsiteY13" fmla="*/ 0 h 315195"/>
                <a:gd name="connsiteX14" fmla="*/ 93832 w 249038"/>
                <a:gd name="connsiteY14" fmla="*/ 3603 h 315195"/>
                <a:gd name="connsiteX15" fmla="*/ 91440 w 249038"/>
                <a:gd name="connsiteY15" fmla="*/ 5390 h 315195"/>
                <a:gd name="connsiteX16" fmla="*/ 79420 w 249038"/>
                <a:gd name="connsiteY16" fmla="*/ 6601 h 315195"/>
                <a:gd name="connsiteX17" fmla="*/ 64977 w 249038"/>
                <a:gd name="connsiteY17" fmla="*/ 27069 h 315195"/>
                <a:gd name="connsiteX18" fmla="*/ 64372 w 249038"/>
                <a:gd name="connsiteY18" fmla="*/ 144366 h 315195"/>
                <a:gd name="connsiteX19" fmla="*/ 64372 w 249038"/>
                <a:gd name="connsiteY19" fmla="*/ 209343 h 315195"/>
                <a:gd name="connsiteX20" fmla="*/ 72183 w 249038"/>
                <a:gd name="connsiteY20" fmla="*/ 289944 h 315195"/>
                <a:gd name="connsiteX21" fmla="*/ 161232 w 249038"/>
                <a:gd name="connsiteY21" fmla="*/ 299572 h 315195"/>
                <a:gd name="connsiteX22" fmla="*/ 174463 w 249038"/>
                <a:gd name="connsiteY22" fmla="*/ 299572 h 315195"/>
                <a:gd name="connsiteX23" fmla="*/ 233415 w 249038"/>
                <a:gd name="connsiteY23" fmla="*/ 281526 h 315195"/>
                <a:gd name="connsiteX24" fmla="*/ 241227 w 249038"/>
                <a:gd name="connsiteY24" fmla="*/ 262269 h 315195"/>
                <a:gd name="connsiteX25" fmla="*/ 244830 w 249038"/>
                <a:gd name="connsiteY25" fmla="*/ 256850 h 315195"/>
                <a:gd name="connsiteX26" fmla="*/ 249039 w 249038"/>
                <a:gd name="connsiteY26" fmla="*/ 256850 h 315195"/>
                <a:gd name="connsiteX27" fmla="*/ 240016 w 249038"/>
                <a:gd name="connsiteY27" fmla="*/ 306173 h 315195"/>
                <a:gd name="connsiteX28" fmla="*/ 228601 w 249038"/>
                <a:gd name="connsiteY28" fmla="*/ 315196 h 315195"/>
                <a:gd name="connsiteX29" fmla="*/ 7812 w 249038"/>
                <a:gd name="connsiteY29" fmla="*/ 315196 h 31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49038" h="315195">
                  <a:moveTo>
                    <a:pt x="7812" y="315196"/>
                  </a:moveTo>
                  <a:cubicBezTo>
                    <a:pt x="4209" y="315196"/>
                    <a:pt x="2392" y="311592"/>
                    <a:pt x="2392" y="311592"/>
                  </a:cubicBezTo>
                  <a:lnTo>
                    <a:pt x="2392" y="309776"/>
                  </a:lnTo>
                  <a:cubicBezTo>
                    <a:pt x="2392" y="309776"/>
                    <a:pt x="12626" y="308565"/>
                    <a:pt x="16229" y="307989"/>
                  </a:cubicBezTo>
                  <a:cubicBezTo>
                    <a:pt x="23435" y="306173"/>
                    <a:pt x="28250" y="297755"/>
                    <a:pt x="30066" y="287552"/>
                  </a:cubicBezTo>
                  <a:cubicBezTo>
                    <a:pt x="31853" y="271898"/>
                    <a:pt x="31853" y="243648"/>
                    <a:pt x="31853" y="208738"/>
                  </a:cubicBezTo>
                  <a:lnTo>
                    <a:pt x="31853" y="144366"/>
                  </a:lnTo>
                  <a:cubicBezTo>
                    <a:pt x="31853" y="87837"/>
                    <a:pt x="31853" y="39089"/>
                    <a:pt x="30642" y="27069"/>
                  </a:cubicBezTo>
                  <a:cubicBezTo>
                    <a:pt x="30036" y="15048"/>
                    <a:pt x="27038" y="9023"/>
                    <a:pt x="15018" y="6601"/>
                  </a:cubicBezTo>
                  <a:cubicBezTo>
                    <a:pt x="12626" y="5995"/>
                    <a:pt x="2998" y="5390"/>
                    <a:pt x="2998" y="5390"/>
                  </a:cubicBezTo>
                  <a:lnTo>
                    <a:pt x="0" y="3603"/>
                  </a:lnTo>
                  <a:lnTo>
                    <a:pt x="606" y="0"/>
                  </a:lnTo>
                  <a:cubicBezTo>
                    <a:pt x="606" y="0"/>
                    <a:pt x="47537" y="1786"/>
                    <a:pt x="49323" y="1786"/>
                  </a:cubicBezTo>
                  <a:cubicBezTo>
                    <a:pt x="51110" y="1786"/>
                    <a:pt x="93832" y="0"/>
                    <a:pt x="93832" y="0"/>
                  </a:cubicBezTo>
                  <a:lnTo>
                    <a:pt x="93832" y="3603"/>
                  </a:lnTo>
                  <a:lnTo>
                    <a:pt x="91440" y="5390"/>
                  </a:lnTo>
                  <a:cubicBezTo>
                    <a:pt x="91440" y="5390"/>
                    <a:pt x="83629" y="5995"/>
                    <a:pt x="79420" y="6601"/>
                  </a:cubicBezTo>
                  <a:cubicBezTo>
                    <a:pt x="68580" y="8417"/>
                    <a:pt x="65583" y="14412"/>
                    <a:pt x="64977" y="27069"/>
                  </a:cubicBezTo>
                  <a:cubicBezTo>
                    <a:pt x="64372" y="39089"/>
                    <a:pt x="64372" y="87837"/>
                    <a:pt x="64372" y="144366"/>
                  </a:cubicBezTo>
                  <a:lnTo>
                    <a:pt x="64372" y="209343"/>
                  </a:lnTo>
                  <a:cubicBezTo>
                    <a:pt x="64372" y="262875"/>
                    <a:pt x="66158" y="282737"/>
                    <a:pt x="72183" y="289944"/>
                  </a:cubicBezTo>
                  <a:cubicBezTo>
                    <a:pt x="78814" y="297150"/>
                    <a:pt x="119720" y="298966"/>
                    <a:pt x="161232" y="299572"/>
                  </a:cubicBezTo>
                  <a:lnTo>
                    <a:pt x="174463" y="299572"/>
                  </a:lnTo>
                  <a:cubicBezTo>
                    <a:pt x="215975" y="299572"/>
                    <a:pt x="225603" y="292366"/>
                    <a:pt x="233415" y="281526"/>
                  </a:cubicBezTo>
                  <a:cubicBezTo>
                    <a:pt x="237018" y="277318"/>
                    <a:pt x="240621" y="267689"/>
                    <a:pt x="241227" y="262269"/>
                  </a:cubicBezTo>
                  <a:cubicBezTo>
                    <a:pt x="242438" y="258666"/>
                    <a:pt x="244830" y="256850"/>
                    <a:pt x="244830" y="256850"/>
                  </a:cubicBezTo>
                  <a:lnTo>
                    <a:pt x="249039" y="256850"/>
                  </a:lnTo>
                  <a:cubicBezTo>
                    <a:pt x="249039" y="256850"/>
                    <a:pt x="242408" y="297150"/>
                    <a:pt x="240016" y="306173"/>
                  </a:cubicBezTo>
                  <a:cubicBezTo>
                    <a:pt x="238199" y="314620"/>
                    <a:pt x="237594" y="315196"/>
                    <a:pt x="228601" y="315196"/>
                  </a:cubicBezTo>
                  <a:lnTo>
                    <a:pt x="7812" y="315196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1AA308F-6AFE-27E8-D657-BDFFB049A284}"/>
                </a:ext>
              </a:extLst>
            </p:cNvPr>
            <p:cNvSpPr/>
            <p:nvPr/>
          </p:nvSpPr>
          <p:spPr>
            <a:xfrm>
              <a:off x="986082" y="7540467"/>
              <a:ext cx="135151" cy="129444"/>
            </a:xfrm>
            <a:custGeom>
              <a:avLst/>
              <a:gdLst>
                <a:gd name="connsiteX0" fmla="*/ 265904 w 283283"/>
                <a:gd name="connsiteY0" fmla="*/ 265267 h 271322"/>
                <a:gd name="connsiteX1" fmla="*/ 222000 w 283283"/>
                <a:gd name="connsiteY1" fmla="*/ 239409 h 271322"/>
                <a:gd name="connsiteX2" fmla="*/ 147395 w 283283"/>
                <a:gd name="connsiteY2" fmla="*/ 147364 h 271322"/>
                <a:gd name="connsiteX3" fmla="*/ 191298 w 283283"/>
                <a:gd name="connsiteY3" fmla="*/ 64341 h 271322"/>
                <a:gd name="connsiteX4" fmla="*/ 166046 w 283283"/>
                <a:gd name="connsiteY4" fmla="*/ 15624 h 271322"/>
                <a:gd name="connsiteX5" fmla="*/ 88443 w 283283"/>
                <a:gd name="connsiteY5" fmla="*/ 0 h 271322"/>
                <a:gd name="connsiteX6" fmla="*/ 46326 w 283283"/>
                <a:gd name="connsiteY6" fmla="*/ 606 h 271322"/>
                <a:gd name="connsiteX7" fmla="*/ 0 w 283283"/>
                <a:gd name="connsiteY7" fmla="*/ 0 h 271322"/>
                <a:gd name="connsiteX8" fmla="*/ 0 w 283283"/>
                <a:gd name="connsiteY8" fmla="*/ 2392 h 271322"/>
                <a:gd name="connsiteX9" fmla="*/ 2998 w 283283"/>
                <a:gd name="connsiteY9" fmla="*/ 4814 h 271322"/>
                <a:gd name="connsiteX10" fmla="*/ 15018 w 283283"/>
                <a:gd name="connsiteY10" fmla="*/ 6025 h 271322"/>
                <a:gd name="connsiteX11" fmla="*/ 30642 w 283283"/>
                <a:gd name="connsiteY11" fmla="*/ 26463 h 271322"/>
                <a:gd name="connsiteX12" fmla="*/ 31247 w 283283"/>
                <a:gd name="connsiteY12" fmla="*/ 104066 h 271322"/>
                <a:gd name="connsiteX13" fmla="*/ 31247 w 283283"/>
                <a:gd name="connsiteY13" fmla="*/ 167226 h 271322"/>
                <a:gd name="connsiteX14" fmla="*/ 29430 w 283283"/>
                <a:gd name="connsiteY14" fmla="*/ 245435 h 271322"/>
                <a:gd name="connsiteX15" fmla="*/ 18591 w 283283"/>
                <a:gd name="connsiteY15" fmla="*/ 265297 h 271322"/>
                <a:gd name="connsiteX16" fmla="*/ 5359 w 283283"/>
                <a:gd name="connsiteY16" fmla="*/ 266508 h 271322"/>
                <a:gd name="connsiteX17" fmla="*/ 5359 w 283283"/>
                <a:gd name="connsiteY17" fmla="*/ 268900 h 271322"/>
                <a:gd name="connsiteX18" fmla="*/ 10779 w 283283"/>
                <a:gd name="connsiteY18" fmla="*/ 271322 h 271322"/>
                <a:gd name="connsiteX19" fmla="*/ 88988 w 283283"/>
                <a:gd name="connsiteY19" fmla="*/ 271322 h 271322"/>
                <a:gd name="connsiteX20" fmla="*/ 94408 w 283283"/>
                <a:gd name="connsiteY20" fmla="*/ 268900 h 271322"/>
                <a:gd name="connsiteX21" fmla="*/ 93802 w 283283"/>
                <a:gd name="connsiteY21" fmla="*/ 266508 h 271322"/>
                <a:gd name="connsiteX22" fmla="*/ 75756 w 283283"/>
                <a:gd name="connsiteY22" fmla="*/ 265297 h 271322"/>
                <a:gd name="connsiteX23" fmla="*/ 61313 w 283283"/>
                <a:gd name="connsiteY23" fmla="*/ 245435 h 271322"/>
                <a:gd name="connsiteX24" fmla="*/ 60102 w 283283"/>
                <a:gd name="connsiteY24" fmla="*/ 167226 h 271322"/>
                <a:gd name="connsiteX25" fmla="*/ 60102 w 283283"/>
                <a:gd name="connsiteY25" fmla="*/ 158809 h 271322"/>
                <a:gd name="connsiteX26" fmla="*/ 62525 w 283283"/>
                <a:gd name="connsiteY26" fmla="*/ 155811 h 271322"/>
                <a:gd name="connsiteX27" fmla="*/ 118449 w 283283"/>
                <a:gd name="connsiteY27" fmla="*/ 156417 h 271322"/>
                <a:gd name="connsiteX28" fmla="*/ 123263 w 283283"/>
                <a:gd name="connsiteY28" fmla="*/ 158839 h 271322"/>
                <a:gd name="connsiteX29" fmla="*/ 162382 w 283283"/>
                <a:gd name="connsiteY29" fmla="*/ 211765 h 271322"/>
                <a:gd name="connsiteX30" fmla="*/ 210495 w 283283"/>
                <a:gd name="connsiteY30" fmla="*/ 264692 h 271322"/>
                <a:gd name="connsiteX31" fmla="*/ 249009 w 283283"/>
                <a:gd name="connsiteY31" fmla="*/ 271322 h 271322"/>
                <a:gd name="connsiteX32" fmla="*/ 274866 w 283283"/>
                <a:gd name="connsiteY32" fmla="*/ 271322 h 271322"/>
                <a:gd name="connsiteX33" fmla="*/ 283283 w 283283"/>
                <a:gd name="connsiteY33" fmla="*/ 268900 h 271322"/>
                <a:gd name="connsiteX34" fmla="*/ 281467 w 283283"/>
                <a:gd name="connsiteY34" fmla="*/ 266508 h 271322"/>
                <a:gd name="connsiteX35" fmla="*/ 265843 w 283283"/>
                <a:gd name="connsiteY35" fmla="*/ 265297 h 271322"/>
                <a:gd name="connsiteX36" fmla="*/ 138917 w 283283"/>
                <a:gd name="connsiteY36" fmla="*/ 138371 h 271322"/>
                <a:gd name="connsiteX37" fmla="*/ 99827 w 283283"/>
                <a:gd name="connsiteY37" fmla="*/ 145577 h 271322"/>
                <a:gd name="connsiteX38" fmla="*/ 62525 w 283283"/>
                <a:gd name="connsiteY38" fmla="*/ 139552 h 271322"/>
                <a:gd name="connsiteX39" fmla="*/ 60102 w 283283"/>
                <a:gd name="connsiteY39" fmla="*/ 135343 h 271322"/>
                <a:gd name="connsiteX40" fmla="*/ 60102 w 283283"/>
                <a:gd name="connsiteY40" fmla="*/ 17410 h 271322"/>
                <a:gd name="connsiteX41" fmla="*/ 62525 w 283283"/>
                <a:gd name="connsiteY41" fmla="*/ 13201 h 271322"/>
                <a:gd name="connsiteX42" fmla="*/ 86596 w 283283"/>
                <a:gd name="connsiteY42" fmla="*/ 11385 h 271322"/>
                <a:gd name="connsiteX43" fmla="*/ 160596 w 283283"/>
                <a:gd name="connsiteY43" fmla="*/ 82962 h 271322"/>
                <a:gd name="connsiteX44" fmla="*/ 138947 w 283283"/>
                <a:gd name="connsiteY44" fmla="*/ 138311 h 27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83283" h="271322">
                  <a:moveTo>
                    <a:pt x="265904" y="265267"/>
                  </a:moveTo>
                  <a:cubicBezTo>
                    <a:pt x="256881" y="264056"/>
                    <a:pt x="241833" y="259847"/>
                    <a:pt x="222000" y="239409"/>
                  </a:cubicBezTo>
                  <a:cubicBezTo>
                    <a:pt x="201562" y="217155"/>
                    <a:pt x="176886" y="185272"/>
                    <a:pt x="147395" y="147364"/>
                  </a:cubicBezTo>
                  <a:cubicBezTo>
                    <a:pt x="179883" y="117873"/>
                    <a:pt x="191298" y="90834"/>
                    <a:pt x="191298" y="64341"/>
                  </a:cubicBezTo>
                  <a:cubicBezTo>
                    <a:pt x="191298" y="39664"/>
                    <a:pt x="175039" y="22224"/>
                    <a:pt x="166046" y="15624"/>
                  </a:cubicBezTo>
                  <a:cubicBezTo>
                    <a:pt x="147395" y="1786"/>
                    <a:pt x="111303" y="0"/>
                    <a:pt x="88443" y="0"/>
                  </a:cubicBezTo>
                  <a:cubicBezTo>
                    <a:pt x="77603" y="0"/>
                    <a:pt x="49929" y="606"/>
                    <a:pt x="46326" y="606"/>
                  </a:cubicBezTo>
                  <a:cubicBezTo>
                    <a:pt x="44539" y="606"/>
                    <a:pt x="0" y="0"/>
                    <a:pt x="0" y="0"/>
                  </a:cubicBezTo>
                  <a:lnTo>
                    <a:pt x="0" y="2392"/>
                  </a:lnTo>
                  <a:cubicBezTo>
                    <a:pt x="0" y="2392"/>
                    <a:pt x="1211" y="4814"/>
                    <a:pt x="2998" y="4814"/>
                  </a:cubicBezTo>
                  <a:cubicBezTo>
                    <a:pt x="5995" y="4814"/>
                    <a:pt x="12020" y="5420"/>
                    <a:pt x="15018" y="6025"/>
                  </a:cubicBezTo>
                  <a:cubicBezTo>
                    <a:pt x="27039" y="8448"/>
                    <a:pt x="29461" y="13837"/>
                    <a:pt x="30642" y="26463"/>
                  </a:cubicBezTo>
                  <a:cubicBezTo>
                    <a:pt x="31247" y="37908"/>
                    <a:pt x="31247" y="48112"/>
                    <a:pt x="31247" y="104066"/>
                  </a:cubicBezTo>
                  <a:lnTo>
                    <a:pt x="31247" y="167226"/>
                  </a:lnTo>
                  <a:cubicBezTo>
                    <a:pt x="31247" y="202107"/>
                    <a:pt x="31247" y="230386"/>
                    <a:pt x="29430" y="245435"/>
                  </a:cubicBezTo>
                  <a:cubicBezTo>
                    <a:pt x="27644" y="255669"/>
                    <a:pt x="25827" y="263480"/>
                    <a:pt x="18591" y="265297"/>
                  </a:cubicBezTo>
                  <a:cubicBezTo>
                    <a:pt x="15593" y="265903"/>
                    <a:pt x="5359" y="266508"/>
                    <a:pt x="5359" y="266508"/>
                  </a:cubicBezTo>
                  <a:lnTo>
                    <a:pt x="5359" y="268900"/>
                  </a:lnTo>
                  <a:cubicBezTo>
                    <a:pt x="5359" y="268900"/>
                    <a:pt x="7146" y="271322"/>
                    <a:pt x="10779" y="271322"/>
                  </a:cubicBezTo>
                  <a:lnTo>
                    <a:pt x="88988" y="271322"/>
                  </a:lnTo>
                  <a:cubicBezTo>
                    <a:pt x="92591" y="271322"/>
                    <a:pt x="94408" y="268900"/>
                    <a:pt x="94408" y="268900"/>
                  </a:cubicBezTo>
                  <a:lnTo>
                    <a:pt x="93802" y="266508"/>
                  </a:lnTo>
                  <a:cubicBezTo>
                    <a:pt x="93802" y="266508"/>
                    <a:pt x="80571" y="265903"/>
                    <a:pt x="75756" y="265297"/>
                  </a:cubicBezTo>
                  <a:cubicBezTo>
                    <a:pt x="64917" y="263480"/>
                    <a:pt x="62525" y="255669"/>
                    <a:pt x="61313" y="245435"/>
                  </a:cubicBezTo>
                  <a:cubicBezTo>
                    <a:pt x="60102" y="230386"/>
                    <a:pt x="60102" y="202137"/>
                    <a:pt x="60102" y="167226"/>
                  </a:cubicBezTo>
                  <a:lnTo>
                    <a:pt x="60102" y="158809"/>
                  </a:lnTo>
                  <a:cubicBezTo>
                    <a:pt x="60102" y="156992"/>
                    <a:pt x="60708" y="155811"/>
                    <a:pt x="62525" y="155811"/>
                  </a:cubicBezTo>
                  <a:lnTo>
                    <a:pt x="118449" y="156417"/>
                  </a:lnTo>
                  <a:cubicBezTo>
                    <a:pt x="120871" y="156417"/>
                    <a:pt x="121446" y="157022"/>
                    <a:pt x="123263" y="158839"/>
                  </a:cubicBezTo>
                  <a:cubicBezTo>
                    <a:pt x="130499" y="167862"/>
                    <a:pt x="147334" y="191933"/>
                    <a:pt x="162382" y="211765"/>
                  </a:cubicBezTo>
                  <a:cubicBezTo>
                    <a:pt x="182820" y="238834"/>
                    <a:pt x="195476" y="256274"/>
                    <a:pt x="210495" y="264692"/>
                  </a:cubicBezTo>
                  <a:cubicBezTo>
                    <a:pt x="220123" y="269506"/>
                    <a:pt x="229146" y="271322"/>
                    <a:pt x="249009" y="271322"/>
                  </a:cubicBezTo>
                  <a:lnTo>
                    <a:pt x="274866" y="271322"/>
                  </a:lnTo>
                  <a:cubicBezTo>
                    <a:pt x="280892" y="271322"/>
                    <a:pt x="283283" y="268900"/>
                    <a:pt x="283283" y="268900"/>
                  </a:cubicBezTo>
                  <a:lnTo>
                    <a:pt x="281467" y="266508"/>
                  </a:lnTo>
                  <a:cubicBezTo>
                    <a:pt x="281467" y="266508"/>
                    <a:pt x="273049" y="266508"/>
                    <a:pt x="265843" y="265297"/>
                  </a:cubicBezTo>
                  <a:moveTo>
                    <a:pt x="138917" y="138371"/>
                  </a:moveTo>
                  <a:cubicBezTo>
                    <a:pt x="130499" y="144396"/>
                    <a:pt x="108820" y="145577"/>
                    <a:pt x="99827" y="145577"/>
                  </a:cubicBezTo>
                  <a:cubicBezTo>
                    <a:pt x="84174" y="145577"/>
                    <a:pt x="67944" y="142580"/>
                    <a:pt x="62525" y="139552"/>
                  </a:cubicBezTo>
                  <a:cubicBezTo>
                    <a:pt x="60708" y="138341"/>
                    <a:pt x="60102" y="137130"/>
                    <a:pt x="60102" y="135343"/>
                  </a:cubicBezTo>
                  <a:lnTo>
                    <a:pt x="60102" y="17410"/>
                  </a:lnTo>
                  <a:cubicBezTo>
                    <a:pt x="60102" y="15593"/>
                    <a:pt x="60708" y="13807"/>
                    <a:pt x="62525" y="13201"/>
                  </a:cubicBezTo>
                  <a:cubicBezTo>
                    <a:pt x="66128" y="11990"/>
                    <a:pt x="75756" y="11385"/>
                    <a:pt x="86596" y="11385"/>
                  </a:cubicBezTo>
                  <a:cubicBezTo>
                    <a:pt x="125110" y="11385"/>
                    <a:pt x="160596" y="38453"/>
                    <a:pt x="160596" y="82962"/>
                  </a:cubicBezTo>
                  <a:cubicBezTo>
                    <a:pt x="160596" y="110636"/>
                    <a:pt x="151573" y="129893"/>
                    <a:pt x="138947" y="138311"/>
                  </a:cubicBezTo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10B8DB4-62A0-B410-ADA7-D98A0234F844}"/>
                </a:ext>
              </a:extLst>
            </p:cNvPr>
            <p:cNvSpPr/>
            <p:nvPr/>
          </p:nvSpPr>
          <p:spPr>
            <a:xfrm>
              <a:off x="1132731" y="7540163"/>
              <a:ext cx="119978" cy="129762"/>
            </a:xfrm>
            <a:custGeom>
              <a:avLst/>
              <a:gdLst>
                <a:gd name="connsiteX0" fmla="*/ 108305 w 251479"/>
                <a:gd name="connsiteY0" fmla="*/ 271898 h 271988"/>
                <a:gd name="connsiteX1" fmla="*/ 215975 w 251479"/>
                <a:gd name="connsiteY1" fmla="*/ 229781 h 271988"/>
                <a:gd name="connsiteX2" fmla="*/ 226209 w 251479"/>
                <a:gd name="connsiteY2" fmla="*/ 215944 h 271988"/>
                <a:gd name="connsiteX3" fmla="*/ 239440 w 251479"/>
                <a:gd name="connsiteY3" fmla="*/ 191873 h 271988"/>
                <a:gd name="connsiteX4" fmla="*/ 217791 w 251479"/>
                <a:gd name="connsiteY4" fmla="*/ 39089 h 271988"/>
                <a:gd name="connsiteX5" fmla="*/ 108305 w 251479"/>
                <a:gd name="connsiteY5" fmla="*/ 606 h 271988"/>
                <a:gd name="connsiteX6" fmla="*/ 0 w 251479"/>
                <a:gd name="connsiteY6" fmla="*/ 0 h 271988"/>
                <a:gd name="connsiteX7" fmla="*/ 0 w 251479"/>
                <a:gd name="connsiteY7" fmla="*/ 3603 h 271988"/>
                <a:gd name="connsiteX8" fmla="*/ 2422 w 251479"/>
                <a:gd name="connsiteY8" fmla="*/ 5420 h 271988"/>
                <a:gd name="connsiteX9" fmla="*/ 7236 w 251479"/>
                <a:gd name="connsiteY9" fmla="*/ 6025 h 271988"/>
                <a:gd name="connsiteX10" fmla="*/ 7812 w 251479"/>
                <a:gd name="connsiteY10" fmla="*/ 6025 h 271988"/>
                <a:gd name="connsiteX11" fmla="*/ 18046 w 251479"/>
                <a:gd name="connsiteY11" fmla="*/ 6631 h 271988"/>
                <a:gd name="connsiteX12" fmla="*/ 21043 w 251479"/>
                <a:gd name="connsiteY12" fmla="*/ 7842 h 271988"/>
                <a:gd name="connsiteX13" fmla="*/ 22255 w 251479"/>
                <a:gd name="connsiteY13" fmla="*/ 7842 h 271988"/>
                <a:gd name="connsiteX14" fmla="*/ 25252 w 251479"/>
                <a:gd name="connsiteY14" fmla="*/ 9053 h 271988"/>
                <a:gd name="connsiteX15" fmla="*/ 27644 w 251479"/>
                <a:gd name="connsiteY15" fmla="*/ 10870 h 271988"/>
                <a:gd name="connsiteX16" fmla="*/ 29461 w 251479"/>
                <a:gd name="connsiteY16" fmla="*/ 12687 h 271988"/>
                <a:gd name="connsiteX17" fmla="*/ 30066 w 251479"/>
                <a:gd name="connsiteY17" fmla="*/ 13292 h 271988"/>
                <a:gd name="connsiteX18" fmla="*/ 30066 w 251479"/>
                <a:gd name="connsiteY18" fmla="*/ 14503 h 271988"/>
                <a:gd name="connsiteX19" fmla="*/ 33064 w 251479"/>
                <a:gd name="connsiteY19" fmla="*/ 27129 h 271988"/>
                <a:gd name="connsiteX20" fmla="*/ 33669 w 251479"/>
                <a:gd name="connsiteY20" fmla="*/ 104732 h 271988"/>
                <a:gd name="connsiteX21" fmla="*/ 33669 w 251479"/>
                <a:gd name="connsiteY21" fmla="*/ 167892 h 271988"/>
                <a:gd name="connsiteX22" fmla="*/ 33064 w 251479"/>
                <a:gd name="connsiteY22" fmla="*/ 244890 h 271988"/>
                <a:gd name="connsiteX23" fmla="*/ 30066 w 251479"/>
                <a:gd name="connsiteY23" fmla="*/ 258121 h 271988"/>
                <a:gd name="connsiteX24" fmla="*/ 30066 w 251479"/>
                <a:gd name="connsiteY24" fmla="*/ 258727 h 271988"/>
                <a:gd name="connsiteX25" fmla="*/ 29461 w 251479"/>
                <a:gd name="connsiteY25" fmla="*/ 259332 h 271988"/>
                <a:gd name="connsiteX26" fmla="*/ 27644 w 251479"/>
                <a:gd name="connsiteY26" fmla="*/ 261149 h 271988"/>
                <a:gd name="connsiteX27" fmla="*/ 25252 w 251479"/>
                <a:gd name="connsiteY27" fmla="*/ 262935 h 271988"/>
                <a:gd name="connsiteX28" fmla="*/ 22255 w 251479"/>
                <a:gd name="connsiteY28" fmla="*/ 264752 h 271988"/>
                <a:gd name="connsiteX29" fmla="*/ 21043 w 251479"/>
                <a:gd name="connsiteY29" fmla="*/ 264752 h 271988"/>
                <a:gd name="connsiteX30" fmla="*/ 18046 w 251479"/>
                <a:gd name="connsiteY30" fmla="*/ 265358 h 271988"/>
                <a:gd name="connsiteX31" fmla="*/ 7812 w 251479"/>
                <a:gd name="connsiteY31" fmla="*/ 266569 h 271988"/>
                <a:gd name="connsiteX32" fmla="*/ 2998 w 251479"/>
                <a:gd name="connsiteY32" fmla="*/ 266569 h 271988"/>
                <a:gd name="connsiteX33" fmla="*/ 1211 w 251479"/>
                <a:gd name="connsiteY33" fmla="*/ 268991 h 271988"/>
                <a:gd name="connsiteX34" fmla="*/ 1211 w 251479"/>
                <a:gd name="connsiteY34" fmla="*/ 271989 h 271988"/>
                <a:gd name="connsiteX35" fmla="*/ 108275 w 251479"/>
                <a:gd name="connsiteY35" fmla="*/ 271989 h 271988"/>
                <a:gd name="connsiteX36" fmla="*/ 116723 w 251479"/>
                <a:gd name="connsiteY36" fmla="*/ 259272 h 271988"/>
                <a:gd name="connsiteX37" fmla="*/ 72819 w 251479"/>
                <a:gd name="connsiteY37" fmla="*/ 258061 h 271988"/>
                <a:gd name="connsiteX38" fmla="*/ 64402 w 251479"/>
                <a:gd name="connsiteY38" fmla="*/ 255669 h 271988"/>
                <a:gd name="connsiteX39" fmla="*/ 62585 w 251479"/>
                <a:gd name="connsiteY39" fmla="*/ 249643 h 271988"/>
                <a:gd name="connsiteX40" fmla="*/ 61980 w 251479"/>
                <a:gd name="connsiteY40" fmla="*/ 173252 h 271988"/>
                <a:gd name="connsiteX41" fmla="*/ 61980 w 251479"/>
                <a:gd name="connsiteY41" fmla="*/ 98676 h 271988"/>
                <a:gd name="connsiteX42" fmla="*/ 62585 w 251479"/>
                <a:gd name="connsiteY42" fmla="*/ 22890 h 271988"/>
                <a:gd name="connsiteX43" fmla="*/ 64402 w 251479"/>
                <a:gd name="connsiteY43" fmla="*/ 16865 h 271988"/>
                <a:gd name="connsiteX44" fmla="*/ 72819 w 251479"/>
                <a:gd name="connsiteY44" fmla="*/ 13867 h 271988"/>
                <a:gd name="connsiteX45" fmla="*/ 89654 w 251479"/>
                <a:gd name="connsiteY45" fmla="*/ 12656 h 271988"/>
                <a:gd name="connsiteX46" fmla="*/ 115512 w 251479"/>
                <a:gd name="connsiteY46" fmla="*/ 13262 h 271988"/>
                <a:gd name="connsiteX47" fmla="*/ 138372 w 251479"/>
                <a:gd name="connsiteY47" fmla="*/ 18076 h 271988"/>
                <a:gd name="connsiteX48" fmla="*/ 160051 w 251479"/>
                <a:gd name="connsiteY48" fmla="*/ 27705 h 271988"/>
                <a:gd name="connsiteX49" fmla="*/ 220789 w 251479"/>
                <a:gd name="connsiteY49" fmla="*/ 137796 h 271988"/>
                <a:gd name="connsiteX50" fmla="*/ 172071 w 251479"/>
                <a:gd name="connsiteY50" fmla="*/ 243648 h 271988"/>
                <a:gd name="connsiteX51" fmla="*/ 116723 w 251479"/>
                <a:gd name="connsiteY51" fmla="*/ 259272 h 271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51479" h="271988">
                  <a:moveTo>
                    <a:pt x="108305" y="271898"/>
                  </a:moveTo>
                  <a:cubicBezTo>
                    <a:pt x="152209" y="271898"/>
                    <a:pt x="184092" y="262269"/>
                    <a:pt x="215975" y="229781"/>
                  </a:cubicBezTo>
                  <a:cubicBezTo>
                    <a:pt x="219578" y="226178"/>
                    <a:pt x="223181" y="221364"/>
                    <a:pt x="226209" y="215944"/>
                  </a:cubicBezTo>
                  <a:cubicBezTo>
                    <a:pt x="226209" y="215944"/>
                    <a:pt x="235837" y="200896"/>
                    <a:pt x="239440" y="191873"/>
                  </a:cubicBezTo>
                  <a:cubicBezTo>
                    <a:pt x="272535" y="107669"/>
                    <a:pt x="227995" y="49323"/>
                    <a:pt x="217791" y="39089"/>
                  </a:cubicBezTo>
                  <a:cubicBezTo>
                    <a:pt x="182911" y="5390"/>
                    <a:pt x="145003" y="1786"/>
                    <a:pt x="108305" y="606"/>
                  </a:cubicBezTo>
                  <a:cubicBezTo>
                    <a:pt x="106489" y="606"/>
                    <a:pt x="0" y="0"/>
                    <a:pt x="0" y="0"/>
                  </a:cubicBezTo>
                  <a:lnTo>
                    <a:pt x="0" y="3603"/>
                  </a:lnTo>
                  <a:cubicBezTo>
                    <a:pt x="0" y="3603"/>
                    <a:pt x="1211" y="5420"/>
                    <a:pt x="2422" y="5420"/>
                  </a:cubicBezTo>
                  <a:cubicBezTo>
                    <a:pt x="3633" y="5420"/>
                    <a:pt x="4814" y="5420"/>
                    <a:pt x="7236" y="6025"/>
                  </a:cubicBezTo>
                  <a:lnTo>
                    <a:pt x="7812" y="6025"/>
                  </a:lnTo>
                  <a:cubicBezTo>
                    <a:pt x="12020" y="6025"/>
                    <a:pt x="16229" y="6025"/>
                    <a:pt x="18046" y="6631"/>
                  </a:cubicBezTo>
                  <a:cubicBezTo>
                    <a:pt x="19257" y="7236"/>
                    <a:pt x="20438" y="7236"/>
                    <a:pt x="21043" y="7842"/>
                  </a:cubicBezTo>
                  <a:lnTo>
                    <a:pt x="22255" y="7842"/>
                  </a:lnTo>
                  <a:cubicBezTo>
                    <a:pt x="23435" y="8448"/>
                    <a:pt x="24041" y="8448"/>
                    <a:pt x="25252" y="9053"/>
                  </a:cubicBezTo>
                  <a:cubicBezTo>
                    <a:pt x="26463" y="9659"/>
                    <a:pt x="27038" y="10264"/>
                    <a:pt x="27644" y="10870"/>
                  </a:cubicBezTo>
                  <a:cubicBezTo>
                    <a:pt x="28250" y="11475"/>
                    <a:pt x="28855" y="12081"/>
                    <a:pt x="29461" y="12687"/>
                  </a:cubicBezTo>
                  <a:lnTo>
                    <a:pt x="30066" y="13292"/>
                  </a:lnTo>
                  <a:lnTo>
                    <a:pt x="30066" y="14503"/>
                  </a:lnTo>
                  <a:cubicBezTo>
                    <a:pt x="32458" y="17501"/>
                    <a:pt x="33064" y="21740"/>
                    <a:pt x="33064" y="27129"/>
                  </a:cubicBezTo>
                  <a:cubicBezTo>
                    <a:pt x="33669" y="38574"/>
                    <a:pt x="33669" y="48778"/>
                    <a:pt x="33669" y="104732"/>
                  </a:cubicBezTo>
                  <a:lnTo>
                    <a:pt x="33669" y="167892"/>
                  </a:lnTo>
                  <a:cubicBezTo>
                    <a:pt x="33669" y="223241"/>
                    <a:pt x="33669" y="233445"/>
                    <a:pt x="33064" y="244890"/>
                  </a:cubicBezTo>
                  <a:cubicBezTo>
                    <a:pt x="33064" y="250915"/>
                    <a:pt x="32458" y="255124"/>
                    <a:pt x="30066" y="258121"/>
                  </a:cubicBezTo>
                  <a:lnTo>
                    <a:pt x="30066" y="258727"/>
                  </a:lnTo>
                  <a:cubicBezTo>
                    <a:pt x="30066" y="259332"/>
                    <a:pt x="29461" y="259332"/>
                    <a:pt x="29461" y="259332"/>
                  </a:cubicBezTo>
                  <a:cubicBezTo>
                    <a:pt x="28855" y="259938"/>
                    <a:pt x="28250" y="260543"/>
                    <a:pt x="27644" y="261149"/>
                  </a:cubicBezTo>
                  <a:cubicBezTo>
                    <a:pt x="27038" y="261755"/>
                    <a:pt x="26433" y="262360"/>
                    <a:pt x="25252" y="262935"/>
                  </a:cubicBezTo>
                  <a:cubicBezTo>
                    <a:pt x="24041" y="263541"/>
                    <a:pt x="23435" y="264147"/>
                    <a:pt x="22255" y="264752"/>
                  </a:cubicBezTo>
                  <a:lnTo>
                    <a:pt x="21043" y="264752"/>
                  </a:lnTo>
                  <a:cubicBezTo>
                    <a:pt x="20438" y="265358"/>
                    <a:pt x="19257" y="265358"/>
                    <a:pt x="18046" y="265358"/>
                  </a:cubicBezTo>
                  <a:cubicBezTo>
                    <a:pt x="16229" y="265963"/>
                    <a:pt x="12020" y="266569"/>
                    <a:pt x="7812" y="266569"/>
                  </a:cubicBezTo>
                  <a:lnTo>
                    <a:pt x="2998" y="266569"/>
                  </a:lnTo>
                  <a:cubicBezTo>
                    <a:pt x="1786" y="266569"/>
                    <a:pt x="1211" y="268991"/>
                    <a:pt x="1211" y="268991"/>
                  </a:cubicBezTo>
                  <a:lnTo>
                    <a:pt x="1211" y="271989"/>
                  </a:lnTo>
                  <a:lnTo>
                    <a:pt x="108275" y="271989"/>
                  </a:lnTo>
                  <a:close/>
                  <a:moveTo>
                    <a:pt x="116723" y="259272"/>
                  </a:moveTo>
                  <a:cubicBezTo>
                    <a:pt x="100494" y="260483"/>
                    <a:pt x="77633" y="258666"/>
                    <a:pt x="72819" y="258061"/>
                  </a:cubicBezTo>
                  <a:lnTo>
                    <a:pt x="64402" y="255669"/>
                  </a:lnTo>
                  <a:cubicBezTo>
                    <a:pt x="63191" y="253852"/>
                    <a:pt x="62585" y="252671"/>
                    <a:pt x="62585" y="249643"/>
                  </a:cubicBezTo>
                  <a:cubicBezTo>
                    <a:pt x="61980" y="237623"/>
                    <a:pt x="61980" y="200926"/>
                    <a:pt x="61980" y="173252"/>
                  </a:cubicBezTo>
                  <a:lnTo>
                    <a:pt x="61980" y="98676"/>
                  </a:lnTo>
                  <a:cubicBezTo>
                    <a:pt x="61980" y="71608"/>
                    <a:pt x="61980" y="34911"/>
                    <a:pt x="62585" y="22890"/>
                  </a:cubicBezTo>
                  <a:cubicBezTo>
                    <a:pt x="62585" y="19893"/>
                    <a:pt x="63191" y="18076"/>
                    <a:pt x="64402" y="16865"/>
                  </a:cubicBezTo>
                  <a:lnTo>
                    <a:pt x="72819" y="13867"/>
                  </a:lnTo>
                  <a:cubicBezTo>
                    <a:pt x="77633" y="13262"/>
                    <a:pt x="89048" y="12656"/>
                    <a:pt x="89654" y="12656"/>
                  </a:cubicBezTo>
                  <a:cubicBezTo>
                    <a:pt x="98677" y="12051"/>
                    <a:pt x="105277" y="12051"/>
                    <a:pt x="115512" y="13262"/>
                  </a:cubicBezTo>
                  <a:cubicBezTo>
                    <a:pt x="129349" y="15079"/>
                    <a:pt x="138372" y="18076"/>
                    <a:pt x="138372" y="18076"/>
                  </a:cubicBezTo>
                  <a:cubicBezTo>
                    <a:pt x="148000" y="21074"/>
                    <a:pt x="152209" y="22890"/>
                    <a:pt x="160051" y="27705"/>
                  </a:cubicBezTo>
                  <a:cubicBezTo>
                    <a:pt x="196748" y="48748"/>
                    <a:pt x="220789" y="81236"/>
                    <a:pt x="220789" y="137796"/>
                  </a:cubicBezTo>
                  <a:cubicBezTo>
                    <a:pt x="221395" y="186513"/>
                    <a:pt x="206346" y="223816"/>
                    <a:pt x="172071" y="243648"/>
                  </a:cubicBezTo>
                  <a:cubicBezTo>
                    <a:pt x="155842" y="253277"/>
                    <a:pt x="141399" y="258091"/>
                    <a:pt x="116723" y="259272"/>
                  </a:cubicBezTo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Text Box 2">
            <a:extLst>
              <a:ext uri="{FF2B5EF4-FFF2-40B4-BE49-F238E27FC236}">
                <a16:creationId xmlns:a16="http://schemas.microsoft.com/office/drawing/2014/main" id="{4668E206-95CA-3133-DEB9-D7BF02E3FE96}"/>
              </a:ext>
            </a:extLst>
          </p:cNvPr>
          <p:cNvSpPr txBox="1">
            <a:spLocks/>
          </p:cNvSpPr>
          <p:nvPr userDrawn="1"/>
        </p:nvSpPr>
        <p:spPr>
          <a:xfrm>
            <a:off x="486064" y="1188943"/>
            <a:ext cx="9721273" cy="398186"/>
          </a:xfrm>
          <a:prstGeom prst="rect">
            <a:avLst/>
          </a:prstGeom>
        </p:spPr>
        <p:txBody>
          <a:bodyPr vert="horz" lIns="0" tIns="0" rIns="0" bIns="91440" rtlCol="0" anchor="b" anchorCtr="0">
            <a:noAutofit/>
          </a:bodyPr>
          <a:lstStyle>
            <a:lvl1pPr lvl="0">
              <a:lnSpc>
                <a:spcPct val="85000"/>
              </a:lnSpc>
              <a:spcBef>
                <a:spcPct val="0"/>
              </a:spcBef>
              <a:buNone/>
              <a:defRPr lang="en-US" sz="2200" b="0" i="0" baseline="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Table of Conten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68D2316-F11A-6CEE-A254-A143C69EB46A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32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36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9">
            <a:extLst>
              <a:ext uri="{FF2B5EF4-FFF2-40B4-BE49-F238E27FC236}">
                <a16:creationId xmlns:a16="http://schemas.microsoft.com/office/drawing/2014/main" id="{79E1C2EB-A5C1-4A70-53D3-F884FB09A03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3107404" cy="756126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tIns="2377440" anchor="ctr" anchorCtr="1"/>
          <a:lstStyle>
            <a:lvl1pPr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1" name="Do Not Delete or Edit">
            <a:extLst>
              <a:ext uri="{FF2B5EF4-FFF2-40B4-BE49-F238E27FC236}">
                <a16:creationId xmlns:a16="http://schemas.microsoft.com/office/drawing/2014/main" id="{669E1E40-4C68-4C86-B176-A94327C71E0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9144000" y="914400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+mj-lt"/>
                <a:ea typeface="+mj-ea"/>
                <a:cs typeface="Aptos" charset="0"/>
              </a:rPr>
              <a:t>A</a:t>
            </a:r>
          </a:p>
        </p:txBody>
      </p:sp>
      <p:sp>
        <p:nvSpPr>
          <p:cNvPr id="6" name="Section Number">
            <a:hlinkClick r:id="" action="ppaction://noaction"/>
            <a:extLst>
              <a:ext uri="{FF2B5EF4-FFF2-40B4-BE49-F238E27FC236}">
                <a16:creationId xmlns:a16="http://schemas.microsoft.com/office/drawing/2014/main" id="{93FDA1B5-2BE1-4854-9105-44B3AE1E36C3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731520" y="3580576"/>
            <a:ext cx="206486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lvl="0" indent="0" algn="r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8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ptos" charset="0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r>
              <a:rPr lang="en-US" sz="8000" noProof="0">
                <a:solidFill>
                  <a:schemeClr val="tx1"/>
                </a:solidFill>
                <a:latin typeface="+mj-lt"/>
                <a:cs typeface="Amplitude-Bold" panose="02000806050000020004" pitchFamily="2" charset="0"/>
              </a:rPr>
              <a:t>A</a:t>
            </a:r>
          </a:p>
        </p:txBody>
      </p:sp>
      <p:sp>
        <p:nvSpPr>
          <p:cNvPr id="7" name="Section Name">
            <a:hlinkClick r:id="" action="ppaction://noaction"/>
            <a:extLst>
              <a:ext uri="{FF2B5EF4-FFF2-40B4-BE49-F238E27FC236}">
                <a16:creationId xmlns:a16="http://schemas.microsoft.com/office/drawing/2014/main" id="{998BCC82-3DE7-45D4-A0E4-D5D191D88A4F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3328863" y="3580576"/>
            <a:ext cx="673140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lvl="0" indent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ptos" charset="0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3200" noProof="0">
                <a:solidFill>
                  <a:schemeClr val="tx1"/>
                </a:solidFill>
                <a:latin typeface="+mj-lt"/>
                <a:cs typeface="Amplitude-Bold" panose="02000806050000020004" pitchFamily="2" charset="0"/>
              </a:rPr>
              <a:t>A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E830722-B181-EBB8-007D-E7BF3A888AD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7163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9">
            <a:extLst>
              <a:ext uri="{FF2B5EF4-FFF2-40B4-BE49-F238E27FC236}">
                <a16:creationId xmlns:a16="http://schemas.microsoft.com/office/drawing/2014/main" id="{2F2C5DE8-C902-AB4D-A987-7ED2239B9EF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3107404" cy="756126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tIns="2377440" anchor="ctr" anchorCtr="1"/>
          <a:lstStyle>
            <a:lvl1pPr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2" name="Do Not Delete or Edit">
            <a:extLst>
              <a:ext uri="{FF2B5EF4-FFF2-40B4-BE49-F238E27FC236}">
                <a16:creationId xmlns:a16="http://schemas.microsoft.com/office/drawing/2014/main" id="{0A8EB175-FA26-4D5E-AA52-586486F770D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9144000" y="914400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">
                <a:noFill/>
              </a:rPr>
              <a:t>A</a:t>
            </a:r>
          </a:p>
        </p:txBody>
      </p:sp>
      <p:sp>
        <p:nvSpPr>
          <p:cNvPr id="5" name="Section Name">
            <a:hlinkClick r:id="" action="ppaction://noaction"/>
            <a:extLst>
              <a:ext uri="{FF2B5EF4-FFF2-40B4-BE49-F238E27FC236}">
                <a16:creationId xmlns:a16="http://schemas.microsoft.com/office/drawing/2014/main" id="{D3C8399A-1336-7E43-7AE2-B628DF02E51E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3328863" y="3580576"/>
            <a:ext cx="673140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lvl="0" indent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ptos" charset="0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3200" noProof="0">
                <a:solidFill>
                  <a:schemeClr val="tx1"/>
                </a:solidFill>
                <a:latin typeface="+mj-lt"/>
                <a:cs typeface="Amplitude-Bold" panose="02000806050000020004" pitchFamily="2" charset="0"/>
              </a:rPr>
              <a:t>A</a:t>
            </a:r>
          </a:p>
        </p:txBody>
      </p:sp>
      <p:sp>
        <p:nvSpPr>
          <p:cNvPr id="7" name="Section Number">
            <a:hlinkClick r:id="" action="ppaction://noaction"/>
            <a:extLst>
              <a:ext uri="{FF2B5EF4-FFF2-40B4-BE49-F238E27FC236}">
                <a16:creationId xmlns:a16="http://schemas.microsoft.com/office/drawing/2014/main" id="{568DCF39-CA1C-9205-CA16-5895CD1E24AF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731520" y="3580576"/>
            <a:ext cx="206486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lvl="0" indent="0" algn="r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8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ptos" charset="0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r>
              <a:rPr lang="en-US" sz="8000" noProof="0">
                <a:solidFill>
                  <a:schemeClr val="tx1"/>
                </a:solidFill>
                <a:latin typeface="+mj-lt"/>
                <a:cs typeface="Amplitude-Bold" panose="02000806050000020004" pitchFamily="2" charset="0"/>
              </a:rPr>
              <a:t>A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BF380C3-D1BC-5A03-600B-A174643C9F7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0140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inder shapes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ction Reminder">
            <a:extLst>
              <a:ext uri="{FF2B5EF4-FFF2-40B4-BE49-F238E27FC236}">
                <a16:creationId xmlns:a16="http://schemas.microsoft.com/office/drawing/2014/main" id="{2DE29122-EB97-4FA2-8F93-740D3821856B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5347337" y="670561"/>
            <a:ext cx="4860000" cy="176400"/>
          </a:xfrm>
          <a:prstGeom prst="rect">
            <a:avLst/>
          </a:prstGeom>
          <a:noFill/>
        </p:spPr>
        <p:txBody>
          <a:bodyPr vert="horz" wrap="square" lIns="46800" tIns="0" rIns="0" bIns="28800" rtlCol="0" anchor="b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b="0" cap="all" spc="200" noProof="0">
                <a:solidFill>
                  <a:schemeClr val="tx1"/>
                </a:solidFill>
                <a:latin typeface="+mn-lt"/>
              </a:rPr>
              <a:t>&lt;%SUBSECNUMELSESECNUM%&gt;   &lt;%SUBSECNAMEELSESECNAME%&gt;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E1E2FF1-AB71-EFCB-98E9-CE667E92EB1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005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3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AFBD0DD-6D58-5D77-D715-C1A3FA7106D8}"/>
              </a:ext>
            </a:extLst>
          </p:cNvPr>
          <p:cNvCxnSpPr/>
          <p:nvPr userDrawn="1"/>
        </p:nvCxnSpPr>
        <p:spPr>
          <a:xfrm>
            <a:off x="3088353" y="0"/>
            <a:ext cx="0" cy="756126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19">
            <a:extLst>
              <a:ext uri="{FF2B5EF4-FFF2-40B4-BE49-F238E27FC236}">
                <a16:creationId xmlns:a16="http://schemas.microsoft.com/office/drawing/2014/main" id="{63353BE0-93C9-CE52-9CAA-ED4E867635E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3107404" cy="7561263"/>
          </a:xfrm>
          <a:solidFill>
            <a:schemeClr val="accent4">
              <a:lumMod val="40000"/>
              <a:lumOff val="60000"/>
            </a:schemeClr>
          </a:solidFill>
        </p:spPr>
        <p:txBody>
          <a:bodyPr tIns="2377440" anchor="ctr" anchorCtr="1"/>
          <a:lstStyle>
            <a:lvl1pPr>
              <a:defRPr b="0">
                <a:solidFill>
                  <a:srgbClr val="23283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fidential Stamp">
            <a:extLst>
              <a:ext uri="{FF2B5EF4-FFF2-40B4-BE49-F238E27FC236}">
                <a16:creationId xmlns:a16="http://schemas.microsoft.com/office/drawing/2014/main" id="{50A9C2AB-E1FA-4FDC-BBA7-5DA5D0F9C325}"/>
              </a:ext>
            </a:extLst>
          </p:cNvPr>
          <p:cNvSpPr txBox="1">
            <a:spLocks/>
          </p:cNvSpPr>
          <p:nvPr userDrawn="1"/>
        </p:nvSpPr>
        <p:spPr>
          <a:xfrm>
            <a:off x="3328863" y="667170"/>
            <a:ext cx="4860636" cy="177912"/>
          </a:xfrm>
          <a:prstGeom prst="rect">
            <a:avLst/>
          </a:prstGeom>
        </p:spPr>
        <p:txBody>
          <a:bodyPr vert="horz" lIns="0" tIns="0" rIns="0" bIns="27432" rtlCol="0" anchor="b" anchorCtr="0">
            <a:noAutofit/>
          </a:bodyPr>
          <a:lstStyle>
            <a:defPPr>
              <a:defRPr lang="en-US"/>
            </a:defPPr>
            <a:lvl1pPr>
              <a:defRPr sz="900" b="0" i="0" cap="all" spc="200" baseline="0"/>
            </a:lvl1pPr>
          </a:lstStyle>
          <a:p>
            <a:pPr lvl="0"/>
            <a:r>
              <a:rPr lang="en-US" noProof="0"/>
              <a:t>Confidential</a:t>
            </a:r>
          </a:p>
        </p:txBody>
      </p:sp>
      <p:sp>
        <p:nvSpPr>
          <p:cNvPr id="6" name="Client Name/Presentation Title">
            <a:extLst>
              <a:ext uri="{FF2B5EF4-FFF2-40B4-BE49-F238E27FC236}">
                <a16:creationId xmlns:a16="http://schemas.microsoft.com/office/drawing/2014/main" id="{88021596-F353-437F-AA58-AF4A400AC9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46700" y="667170"/>
            <a:ext cx="4860000" cy="177912"/>
          </a:xfrm>
        </p:spPr>
        <p:txBody>
          <a:bodyPr vert="horz" lIns="0" tIns="0" rIns="0" bIns="27432" rtlCol="0" anchor="b" anchorCtr="0">
            <a:noAutofit/>
          </a:bodyPr>
          <a:lstStyle>
            <a:lvl1pPr algn="r">
              <a:defRPr lang="en-GB" smtClean="0"/>
            </a:lvl1pPr>
          </a:lstStyle>
          <a:p>
            <a:r>
              <a:rPr lang="en-US" noProof="0"/>
              <a:t>Lazard RHQ Governance Framework</a:t>
            </a:r>
          </a:p>
        </p:txBody>
      </p:sp>
      <p:grpSp>
        <p:nvGrpSpPr>
          <p:cNvPr id="4" name="MainLogo">
            <a:extLst>
              <a:ext uri="{FF2B5EF4-FFF2-40B4-BE49-F238E27FC236}">
                <a16:creationId xmlns:a16="http://schemas.microsoft.com/office/drawing/2014/main" id="{5A4AA93E-E8BB-77AE-6C41-A5D56C702849}"/>
              </a:ext>
            </a:extLst>
          </p:cNvPr>
          <p:cNvGrpSpPr/>
          <p:nvPr userDrawn="1"/>
        </p:nvGrpSpPr>
        <p:grpSpPr>
          <a:xfrm>
            <a:off x="9380437" y="6995460"/>
            <a:ext cx="801858" cy="150418"/>
            <a:chOff x="450851" y="7519507"/>
            <a:chExt cx="801858" cy="150418"/>
          </a:xfrm>
          <a:solidFill>
            <a:schemeClr val="tx1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934E7E2-04B0-5CFD-35F8-9873FE469C6A}"/>
                </a:ext>
              </a:extLst>
            </p:cNvPr>
            <p:cNvSpPr/>
            <p:nvPr/>
          </p:nvSpPr>
          <p:spPr>
            <a:xfrm>
              <a:off x="727769" y="7539586"/>
              <a:ext cx="105639" cy="130296"/>
            </a:xfrm>
            <a:custGeom>
              <a:avLst/>
              <a:gdLst>
                <a:gd name="connsiteX0" fmla="*/ 215400 w 221424"/>
                <a:gd name="connsiteY0" fmla="*/ 2422 h 273108"/>
                <a:gd name="connsiteX1" fmla="*/ 219003 w 221424"/>
                <a:gd name="connsiteY1" fmla="*/ 2422 h 273108"/>
                <a:gd name="connsiteX2" fmla="*/ 221425 w 221424"/>
                <a:gd name="connsiteY2" fmla="*/ 4845 h 273108"/>
                <a:gd name="connsiteX3" fmla="*/ 219608 w 221424"/>
                <a:gd name="connsiteY3" fmla="*/ 9053 h 273108"/>
                <a:gd name="connsiteX4" fmla="*/ 45750 w 221424"/>
                <a:gd name="connsiteY4" fmla="*/ 257485 h 273108"/>
                <a:gd name="connsiteX5" fmla="*/ 137796 w 221424"/>
                <a:gd name="connsiteY5" fmla="*/ 256880 h 273108"/>
                <a:gd name="connsiteX6" fmla="*/ 199746 w 221424"/>
                <a:gd name="connsiteY6" fmla="*/ 239440 h 273108"/>
                <a:gd name="connsiteX7" fmla="*/ 207558 w 221424"/>
                <a:gd name="connsiteY7" fmla="*/ 220183 h 273108"/>
                <a:gd name="connsiteX8" fmla="*/ 211161 w 221424"/>
                <a:gd name="connsiteY8" fmla="*/ 214157 h 273108"/>
                <a:gd name="connsiteX9" fmla="*/ 214764 w 221424"/>
                <a:gd name="connsiteY9" fmla="*/ 214157 h 273108"/>
                <a:gd name="connsiteX10" fmla="*/ 206346 w 221424"/>
                <a:gd name="connsiteY10" fmla="*/ 263480 h 273108"/>
                <a:gd name="connsiteX11" fmla="*/ 194326 w 221424"/>
                <a:gd name="connsiteY11" fmla="*/ 273109 h 273108"/>
                <a:gd name="connsiteX12" fmla="*/ 6025 w 221424"/>
                <a:gd name="connsiteY12" fmla="*/ 273109 h 273108"/>
                <a:gd name="connsiteX13" fmla="*/ 0 w 221424"/>
                <a:gd name="connsiteY13" fmla="*/ 268295 h 273108"/>
                <a:gd name="connsiteX14" fmla="*/ 5420 w 221424"/>
                <a:gd name="connsiteY14" fmla="*/ 258061 h 273108"/>
                <a:gd name="connsiteX15" fmla="*/ 141975 w 221424"/>
                <a:gd name="connsiteY15" fmla="*/ 78814 h 273108"/>
                <a:gd name="connsiteX16" fmla="*/ 182881 w 221424"/>
                <a:gd name="connsiteY16" fmla="*/ 21649 h 273108"/>
                <a:gd name="connsiteX17" fmla="*/ 186484 w 221424"/>
                <a:gd name="connsiteY17" fmla="*/ 16835 h 273108"/>
                <a:gd name="connsiteX18" fmla="*/ 89018 w 221424"/>
                <a:gd name="connsiteY18" fmla="*/ 17440 h 273108"/>
                <a:gd name="connsiteX19" fmla="*/ 60163 w 221424"/>
                <a:gd name="connsiteY19" fmla="*/ 19227 h 273108"/>
                <a:gd name="connsiteX20" fmla="*/ 42723 w 221424"/>
                <a:gd name="connsiteY20" fmla="*/ 24646 h 273108"/>
                <a:gd name="connsiteX21" fmla="*/ 20468 w 221424"/>
                <a:gd name="connsiteY21" fmla="*/ 52926 h 273108"/>
                <a:gd name="connsiteX22" fmla="*/ 16259 w 221424"/>
                <a:gd name="connsiteY22" fmla="*/ 59527 h 273108"/>
                <a:gd name="connsiteX23" fmla="*/ 13837 w 221424"/>
                <a:gd name="connsiteY23" fmla="*/ 54713 h 273108"/>
                <a:gd name="connsiteX24" fmla="*/ 21649 w 221424"/>
                <a:gd name="connsiteY24" fmla="*/ 7206 h 273108"/>
                <a:gd name="connsiteX25" fmla="*/ 25252 w 221424"/>
                <a:gd name="connsiteY25" fmla="*/ 0 h 273108"/>
                <a:gd name="connsiteX26" fmla="*/ 38484 w 221424"/>
                <a:gd name="connsiteY26" fmla="*/ 1817 h 273108"/>
                <a:gd name="connsiteX27" fmla="*/ 108850 w 221424"/>
                <a:gd name="connsiteY27" fmla="*/ 1817 h 273108"/>
                <a:gd name="connsiteX28" fmla="*/ 215339 w 221424"/>
                <a:gd name="connsiteY28" fmla="*/ 2422 h 273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21424" h="273108">
                  <a:moveTo>
                    <a:pt x="215400" y="2422"/>
                  </a:moveTo>
                  <a:lnTo>
                    <a:pt x="219003" y="2422"/>
                  </a:lnTo>
                  <a:cubicBezTo>
                    <a:pt x="220819" y="3028"/>
                    <a:pt x="221425" y="3633"/>
                    <a:pt x="221425" y="4845"/>
                  </a:cubicBezTo>
                  <a:cubicBezTo>
                    <a:pt x="221425" y="6661"/>
                    <a:pt x="221425" y="7267"/>
                    <a:pt x="219608" y="9053"/>
                  </a:cubicBezTo>
                  <a:cubicBezTo>
                    <a:pt x="162443" y="92076"/>
                    <a:pt x="105308" y="175068"/>
                    <a:pt x="45750" y="257485"/>
                  </a:cubicBezTo>
                  <a:lnTo>
                    <a:pt x="137796" y="256880"/>
                  </a:lnTo>
                  <a:cubicBezTo>
                    <a:pt x="178702" y="256880"/>
                    <a:pt x="191328" y="250249"/>
                    <a:pt x="199746" y="239440"/>
                  </a:cubicBezTo>
                  <a:cubicBezTo>
                    <a:pt x="203349" y="234625"/>
                    <a:pt x="206952" y="224997"/>
                    <a:pt x="207558" y="220183"/>
                  </a:cubicBezTo>
                  <a:cubicBezTo>
                    <a:pt x="208163" y="216580"/>
                    <a:pt x="211161" y="214157"/>
                    <a:pt x="211161" y="214157"/>
                  </a:cubicBezTo>
                  <a:lnTo>
                    <a:pt x="214764" y="214157"/>
                  </a:lnTo>
                  <a:cubicBezTo>
                    <a:pt x="214764" y="214157"/>
                    <a:pt x="208738" y="254458"/>
                    <a:pt x="206346" y="263480"/>
                  </a:cubicBezTo>
                  <a:cubicBezTo>
                    <a:pt x="203954" y="272503"/>
                    <a:pt x="203349" y="273109"/>
                    <a:pt x="194326" y="273109"/>
                  </a:cubicBezTo>
                  <a:lnTo>
                    <a:pt x="6025" y="273109"/>
                  </a:lnTo>
                  <a:cubicBezTo>
                    <a:pt x="1817" y="273109"/>
                    <a:pt x="0" y="270687"/>
                    <a:pt x="0" y="268295"/>
                  </a:cubicBezTo>
                  <a:cubicBezTo>
                    <a:pt x="0" y="266478"/>
                    <a:pt x="1211" y="264692"/>
                    <a:pt x="5420" y="258061"/>
                  </a:cubicBezTo>
                  <a:cubicBezTo>
                    <a:pt x="48718" y="198504"/>
                    <a:pt x="97435" y="138946"/>
                    <a:pt x="141975" y="78814"/>
                  </a:cubicBezTo>
                  <a:cubicBezTo>
                    <a:pt x="155812" y="60163"/>
                    <a:pt x="169649" y="40906"/>
                    <a:pt x="182881" y="21649"/>
                  </a:cubicBezTo>
                  <a:cubicBezTo>
                    <a:pt x="184092" y="19832"/>
                    <a:pt x="185303" y="18651"/>
                    <a:pt x="186484" y="16835"/>
                  </a:cubicBezTo>
                  <a:lnTo>
                    <a:pt x="89018" y="17440"/>
                  </a:lnTo>
                  <a:cubicBezTo>
                    <a:pt x="76998" y="17440"/>
                    <a:pt x="67975" y="18046"/>
                    <a:pt x="60163" y="19227"/>
                  </a:cubicBezTo>
                  <a:cubicBezTo>
                    <a:pt x="53532" y="20438"/>
                    <a:pt x="47537" y="22224"/>
                    <a:pt x="42723" y="24646"/>
                  </a:cubicBezTo>
                  <a:cubicBezTo>
                    <a:pt x="28885" y="31247"/>
                    <a:pt x="20468" y="52926"/>
                    <a:pt x="20468" y="52926"/>
                  </a:cubicBezTo>
                  <a:lnTo>
                    <a:pt x="16259" y="59527"/>
                  </a:lnTo>
                  <a:cubicBezTo>
                    <a:pt x="16259" y="59527"/>
                    <a:pt x="13837" y="57740"/>
                    <a:pt x="13837" y="54713"/>
                  </a:cubicBezTo>
                  <a:cubicBezTo>
                    <a:pt x="13837" y="50504"/>
                    <a:pt x="19257" y="18015"/>
                    <a:pt x="21649" y="7206"/>
                  </a:cubicBezTo>
                  <a:cubicBezTo>
                    <a:pt x="22255" y="1786"/>
                    <a:pt x="25252" y="0"/>
                    <a:pt x="25252" y="0"/>
                  </a:cubicBezTo>
                  <a:cubicBezTo>
                    <a:pt x="25252" y="0"/>
                    <a:pt x="27644" y="1817"/>
                    <a:pt x="38484" y="1817"/>
                  </a:cubicBezTo>
                  <a:lnTo>
                    <a:pt x="108850" y="1817"/>
                  </a:lnTo>
                  <a:lnTo>
                    <a:pt x="215339" y="2422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CDFBC29-7EDC-B1B8-1E5C-2829F3D9E567}"/>
                </a:ext>
              </a:extLst>
            </p:cNvPr>
            <p:cNvSpPr/>
            <p:nvPr/>
          </p:nvSpPr>
          <p:spPr>
            <a:xfrm>
              <a:off x="579704" y="7536212"/>
              <a:ext cx="136306" cy="133685"/>
            </a:xfrm>
            <a:custGeom>
              <a:avLst/>
              <a:gdLst>
                <a:gd name="connsiteX0" fmla="*/ 266509 w 285705"/>
                <a:gd name="connsiteY0" fmla="*/ 272975 h 280211"/>
                <a:gd name="connsiteX1" fmla="*/ 235837 w 285705"/>
                <a:gd name="connsiteY1" fmla="*/ 234461 h 280211"/>
                <a:gd name="connsiteX2" fmla="*/ 138977 w 285705"/>
                <a:gd name="connsiteY2" fmla="*/ 1077 h 280211"/>
                <a:gd name="connsiteX3" fmla="*/ 136555 w 285705"/>
                <a:gd name="connsiteY3" fmla="*/ 2288 h 280211"/>
                <a:gd name="connsiteX4" fmla="*/ 45720 w 285705"/>
                <a:gd name="connsiteY4" fmla="*/ 239306 h 280211"/>
                <a:gd name="connsiteX5" fmla="*/ 14443 w 285705"/>
                <a:gd name="connsiteY5" fmla="*/ 274186 h 280211"/>
                <a:gd name="connsiteX6" fmla="*/ 0 w 285705"/>
                <a:gd name="connsiteY6" fmla="*/ 275397 h 280211"/>
                <a:gd name="connsiteX7" fmla="*/ 0 w 285705"/>
                <a:gd name="connsiteY7" fmla="*/ 277214 h 280211"/>
                <a:gd name="connsiteX8" fmla="*/ 7206 w 285705"/>
                <a:gd name="connsiteY8" fmla="*/ 280212 h 280211"/>
                <a:gd name="connsiteX9" fmla="*/ 78784 w 285705"/>
                <a:gd name="connsiteY9" fmla="*/ 280212 h 280211"/>
                <a:gd name="connsiteX10" fmla="*/ 84204 w 285705"/>
                <a:gd name="connsiteY10" fmla="*/ 277214 h 280211"/>
                <a:gd name="connsiteX11" fmla="*/ 84204 w 285705"/>
                <a:gd name="connsiteY11" fmla="*/ 276003 h 280211"/>
                <a:gd name="connsiteX12" fmla="*/ 76998 w 285705"/>
                <a:gd name="connsiteY12" fmla="*/ 275397 h 280211"/>
                <a:gd name="connsiteX13" fmla="*/ 62555 w 285705"/>
                <a:gd name="connsiteY13" fmla="*/ 264558 h 280211"/>
                <a:gd name="connsiteX14" fmla="*/ 67975 w 285705"/>
                <a:gd name="connsiteY14" fmla="*/ 239306 h 280211"/>
                <a:gd name="connsiteX15" fmla="*/ 92046 w 285705"/>
                <a:gd name="connsiteY15" fmla="*/ 169515 h 280211"/>
                <a:gd name="connsiteX16" fmla="*/ 176855 w 285705"/>
                <a:gd name="connsiteY16" fmla="*/ 170120 h 280211"/>
                <a:gd name="connsiteX17" fmla="*/ 212947 w 285705"/>
                <a:gd name="connsiteY17" fmla="*/ 264558 h 280211"/>
                <a:gd name="connsiteX18" fmla="*/ 210525 w 285705"/>
                <a:gd name="connsiteY18" fmla="*/ 274186 h 280211"/>
                <a:gd name="connsiteX19" fmla="*/ 208102 w 285705"/>
                <a:gd name="connsiteY19" fmla="*/ 277184 h 280211"/>
                <a:gd name="connsiteX20" fmla="*/ 218942 w 285705"/>
                <a:gd name="connsiteY20" fmla="*/ 280181 h 280211"/>
                <a:gd name="connsiteX21" fmla="*/ 277894 w 285705"/>
                <a:gd name="connsiteY21" fmla="*/ 280181 h 280211"/>
                <a:gd name="connsiteX22" fmla="*/ 285706 w 285705"/>
                <a:gd name="connsiteY22" fmla="*/ 277184 h 280211"/>
                <a:gd name="connsiteX23" fmla="*/ 285100 w 285705"/>
                <a:gd name="connsiteY23" fmla="*/ 275367 h 280211"/>
                <a:gd name="connsiteX24" fmla="*/ 266449 w 285705"/>
                <a:gd name="connsiteY24" fmla="*/ 272945 h 280211"/>
                <a:gd name="connsiteX25" fmla="*/ 95619 w 285705"/>
                <a:gd name="connsiteY25" fmla="*/ 156253 h 280211"/>
                <a:gd name="connsiteX26" fmla="*/ 133527 w 285705"/>
                <a:gd name="connsiteY26" fmla="*/ 47373 h 280211"/>
                <a:gd name="connsiteX27" fmla="*/ 172011 w 285705"/>
                <a:gd name="connsiteY27" fmla="*/ 156253 h 280211"/>
                <a:gd name="connsiteX28" fmla="*/ 95619 w 285705"/>
                <a:gd name="connsiteY28" fmla="*/ 156253 h 28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5705" h="280211">
                  <a:moveTo>
                    <a:pt x="266509" y="272975"/>
                  </a:moveTo>
                  <a:cubicBezTo>
                    <a:pt x="259303" y="270583"/>
                    <a:pt x="249069" y="265163"/>
                    <a:pt x="235837" y="234461"/>
                  </a:cubicBezTo>
                  <a:lnTo>
                    <a:pt x="138977" y="1077"/>
                  </a:lnTo>
                  <a:cubicBezTo>
                    <a:pt x="137766" y="-1920"/>
                    <a:pt x="136555" y="2288"/>
                    <a:pt x="136555" y="2288"/>
                  </a:cubicBezTo>
                  <a:lnTo>
                    <a:pt x="45720" y="239306"/>
                  </a:lnTo>
                  <a:cubicBezTo>
                    <a:pt x="39120" y="257957"/>
                    <a:pt x="31883" y="272400"/>
                    <a:pt x="14443" y="274186"/>
                  </a:cubicBezTo>
                  <a:cubicBezTo>
                    <a:pt x="11445" y="274792"/>
                    <a:pt x="0" y="275397"/>
                    <a:pt x="0" y="275397"/>
                  </a:cubicBezTo>
                  <a:lnTo>
                    <a:pt x="0" y="277214"/>
                  </a:lnTo>
                  <a:cubicBezTo>
                    <a:pt x="0" y="277214"/>
                    <a:pt x="2392" y="280212"/>
                    <a:pt x="7206" y="280212"/>
                  </a:cubicBezTo>
                  <a:lnTo>
                    <a:pt x="78784" y="280212"/>
                  </a:lnTo>
                  <a:cubicBezTo>
                    <a:pt x="82387" y="280212"/>
                    <a:pt x="84204" y="277214"/>
                    <a:pt x="84204" y="277214"/>
                  </a:cubicBezTo>
                  <a:lnTo>
                    <a:pt x="84204" y="276003"/>
                  </a:lnTo>
                  <a:lnTo>
                    <a:pt x="76998" y="275397"/>
                  </a:lnTo>
                  <a:cubicBezTo>
                    <a:pt x="70367" y="275397"/>
                    <a:pt x="62555" y="271794"/>
                    <a:pt x="62555" y="264558"/>
                  </a:cubicBezTo>
                  <a:cubicBezTo>
                    <a:pt x="62555" y="257321"/>
                    <a:pt x="64341" y="248329"/>
                    <a:pt x="67975" y="239306"/>
                  </a:cubicBezTo>
                  <a:lnTo>
                    <a:pt x="92046" y="169515"/>
                  </a:lnTo>
                  <a:lnTo>
                    <a:pt x="176855" y="170120"/>
                  </a:lnTo>
                  <a:lnTo>
                    <a:pt x="212947" y="264558"/>
                  </a:lnTo>
                  <a:cubicBezTo>
                    <a:pt x="215339" y="270583"/>
                    <a:pt x="212947" y="273581"/>
                    <a:pt x="210525" y="274186"/>
                  </a:cubicBezTo>
                  <a:cubicBezTo>
                    <a:pt x="209314" y="274792"/>
                    <a:pt x="208102" y="275397"/>
                    <a:pt x="208102" y="277184"/>
                  </a:cubicBezTo>
                  <a:cubicBezTo>
                    <a:pt x="208102" y="279576"/>
                    <a:pt x="211706" y="280181"/>
                    <a:pt x="218942" y="280181"/>
                  </a:cubicBezTo>
                  <a:lnTo>
                    <a:pt x="277894" y="280181"/>
                  </a:lnTo>
                  <a:cubicBezTo>
                    <a:pt x="282103" y="280181"/>
                    <a:pt x="285706" y="277184"/>
                    <a:pt x="285706" y="277184"/>
                  </a:cubicBezTo>
                  <a:lnTo>
                    <a:pt x="285100" y="275367"/>
                  </a:lnTo>
                  <a:cubicBezTo>
                    <a:pt x="285100" y="275367"/>
                    <a:pt x="272474" y="274762"/>
                    <a:pt x="266449" y="272945"/>
                  </a:cubicBezTo>
                  <a:moveTo>
                    <a:pt x="95619" y="156253"/>
                  </a:moveTo>
                  <a:lnTo>
                    <a:pt x="133527" y="47373"/>
                  </a:lnTo>
                  <a:lnTo>
                    <a:pt x="172011" y="156253"/>
                  </a:lnTo>
                  <a:lnTo>
                    <a:pt x="95619" y="156253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084006F-ED6A-57DC-D1FA-64F1B3CE45BC}"/>
                </a:ext>
              </a:extLst>
            </p:cNvPr>
            <p:cNvSpPr/>
            <p:nvPr/>
          </p:nvSpPr>
          <p:spPr>
            <a:xfrm>
              <a:off x="840573" y="7536212"/>
              <a:ext cx="136032" cy="133685"/>
            </a:xfrm>
            <a:custGeom>
              <a:avLst/>
              <a:gdLst>
                <a:gd name="connsiteX0" fmla="*/ 266509 w 285130"/>
                <a:gd name="connsiteY0" fmla="*/ 272975 h 280211"/>
                <a:gd name="connsiteX1" fmla="*/ 235837 w 285130"/>
                <a:gd name="connsiteY1" fmla="*/ 234461 h 280211"/>
                <a:gd name="connsiteX2" fmla="*/ 138977 w 285130"/>
                <a:gd name="connsiteY2" fmla="*/ 1077 h 280211"/>
                <a:gd name="connsiteX3" fmla="*/ 136555 w 285130"/>
                <a:gd name="connsiteY3" fmla="*/ 2288 h 280211"/>
                <a:gd name="connsiteX4" fmla="*/ 45720 w 285130"/>
                <a:gd name="connsiteY4" fmla="*/ 239306 h 280211"/>
                <a:gd name="connsiteX5" fmla="*/ 14443 w 285130"/>
                <a:gd name="connsiteY5" fmla="*/ 274186 h 280211"/>
                <a:gd name="connsiteX6" fmla="*/ 0 w 285130"/>
                <a:gd name="connsiteY6" fmla="*/ 275397 h 280211"/>
                <a:gd name="connsiteX7" fmla="*/ 0 w 285130"/>
                <a:gd name="connsiteY7" fmla="*/ 277214 h 280211"/>
                <a:gd name="connsiteX8" fmla="*/ 7206 w 285130"/>
                <a:gd name="connsiteY8" fmla="*/ 280212 h 280211"/>
                <a:gd name="connsiteX9" fmla="*/ 78784 w 285130"/>
                <a:gd name="connsiteY9" fmla="*/ 280212 h 280211"/>
                <a:gd name="connsiteX10" fmla="*/ 84204 w 285130"/>
                <a:gd name="connsiteY10" fmla="*/ 277214 h 280211"/>
                <a:gd name="connsiteX11" fmla="*/ 84204 w 285130"/>
                <a:gd name="connsiteY11" fmla="*/ 276003 h 280211"/>
                <a:gd name="connsiteX12" fmla="*/ 76998 w 285130"/>
                <a:gd name="connsiteY12" fmla="*/ 275397 h 280211"/>
                <a:gd name="connsiteX13" fmla="*/ 62555 w 285130"/>
                <a:gd name="connsiteY13" fmla="*/ 264558 h 280211"/>
                <a:gd name="connsiteX14" fmla="*/ 67975 w 285130"/>
                <a:gd name="connsiteY14" fmla="*/ 239306 h 280211"/>
                <a:gd name="connsiteX15" fmla="*/ 92046 w 285130"/>
                <a:gd name="connsiteY15" fmla="*/ 169515 h 280211"/>
                <a:gd name="connsiteX16" fmla="*/ 176855 w 285130"/>
                <a:gd name="connsiteY16" fmla="*/ 170120 h 280211"/>
                <a:gd name="connsiteX17" fmla="*/ 212947 w 285130"/>
                <a:gd name="connsiteY17" fmla="*/ 264558 h 280211"/>
                <a:gd name="connsiteX18" fmla="*/ 210525 w 285130"/>
                <a:gd name="connsiteY18" fmla="*/ 274186 h 280211"/>
                <a:gd name="connsiteX19" fmla="*/ 208133 w 285130"/>
                <a:gd name="connsiteY19" fmla="*/ 277184 h 280211"/>
                <a:gd name="connsiteX20" fmla="*/ 218972 w 285130"/>
                <a:gd name="connsiteY20" fmla="*/ 280181 h 280211"/>
                <a:gd name="connsiteX21" fmla="*/ 277924 w 285130"/>
                <a:gd name="connsiteY21" fmla="*/ 280181 h 280211"/>
                <a:gd name="connsiteX22" fmla="*/ 285130 w 285130"/>
                <a:gd name="connsiteY22" fmla="*/ 277184 h 280211"/>
                <a:gd name="connsiteX23" fmla="*/ 285130 w 285130"/>
                <a:gd name="connsiteY23" fmla="*/ 275367 h 280211"/>
                <a:gd name="connsiteX24" fmla="*/ 266479 w 285130"/>
                <a:gd name="connsiteY24" fmla="*/ 272945 h 280211"/>
                <a:gd name="connsiteX25" fmla="*/ 95649 w 285130"/>
                <a:gd name="connsiteY25" fmla="*/ 156253 h 280211"/>
                <a:gd name="connsiteX26" fmla="*/ 133557 w 285130"/>
                <a:gd name="connsiteY26" fmla="*/ 47373 h 280211"/>
                <a:gd name="connsiteX27" fmla="*/ 172041 w 285130"/>
                <a:gd name="connsiteY27" fmla="*/ 156253 h 280211"/>
                <a:gd name="connsiteX28" fmla="*/ 95649 w 285130"/>
                <a:gd name="connsiteY28" fmla="*/ 156253 h 28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5130" h="280211">
                  <a:moveTo>
                    <a:pt x="266509" y="272975"/>
                  </a:moveTo>
                  <a:cubicBezTo>
                    <a:pt x="259303" y="270583"/>
                    <a:pt x="248463" y="265163"/>
                    <a:pt x="235837" y="234461"/>
                  </a:cubicBezTo>
                  <a:lnTo>
                    <a:pt x="138977" y="1077"/>
                  </a:lnTo>
                  <a:cubicBezTo>
                    <a:pt x="137766" y="-1920"/>
                    <a:pt x="136555" y="2288"/>
                    <a:pt x="136555" y="2288"/>
                  </a:cubicBezTo>
                  <a:lnTo>
                    <a:pt x="45720" y="239306"/>
                  </a:lnTo>
                  <a:cubicBezTo>
                    <a:pt x="39119" y="257957"/>
                    <a:pt x="31277" y="272400"/>
                    <a:pt x="14443" y="274186"/>
                  </a:cubicBezTo>
                  <a:cubicBezTo>
                    <a:pt x="11445" y="274792"/>
                    <a:pt x="0" y="275397"/>
                    <a:pt x="0" y="275397"/>
                  </a:cubicBezTo>
                  <a:lnTo>
                    <a:pt x="0" y="277214"/>
                  </a:lnTo>
                  <a:cubicBezTo>
                    <a:pt x="0" y="277214"/>
                    <a:pt x="2422" y="280212"/>
                    <a:pt x="7206" y="280212"/>
                  </a:cubicBezTo>
                  <a:lnTo>
                    <a:pt x="78784" y="280212"/>
                  </a:lnTo>
                  <a:cubicBezTo>
                    <a:pt x="82387" y="280212"/>
                    <a:pt x="84204" y="277214"/>
                    <a:pt x="84204" y="277214"/>
                  </a:cubicBezTo>
                  <a:lnTo>
                    <a:pt x="84204" y="276003"/>
                  </a:lnTo>
                  <a:lnTo>
                    <a:pt x="76998" y="275397"/>
                  </a:lnTo>
                  <a:cubicBezTo>
                    <a:pt x="70367" y="275397"/>
                    <a:pt x="62555" y="271794"/>
                    <a:pt x="62555" y="264558"/>
                  </a:cubicBezTo>
                  <a:cubicBezTo>
                    <a:pt x="62555" y="257321"/>
                    <a:pt x="64341" y="248329"/>
                    <a:pt x="67975" y="239306"/>
                  </a:cubicBezTo>
                  <a:lnTo>
                    <a:pt x="92046" y="169515"/>
                  </a:lnTo>
                  <a:lnTo>
                    <a:pt x="176855" y="170120"/>
                  </a:lnTo>
                  <a:lnTo>
                    <a:pt x="212947" y="264558"/>
                  </a:lnTo>
                  <a:cubicBezTo>
                    <a:pt x="214733" y="270583"/>
                    <a:pt x="212947" y="273581"/>
                    <a:pt x="210525" y="274186"/>
                  </a:cubicBezTo>
                  <a:cubicBezTo>
                    <a:pt x="208708" y="274792"/>
                    <a:pt x="208133" y="275397"/>
                    <a:pt x="208133" y="277184"/>
                  </a:cubicBezTo>
                  <a:cubicBezTo>
                    <a:pt x="208133" y="279576"/>
                    <a:pt x="211736" y="280181"/>
                    <a:pt x="218972" y="280181"/>
                  </a:cubicBezTo>
                  <a:lnTo>
                    <a:pt x="277924" y="280181"/>
                  </a:lnTo>
                  <a:cubicBezTo>
                    <a:pt x="282133" y="280181"/>
                    <a:pt x="285130" y="277184"/>
                    <a:pt x="285130" y="277184"/>
                  </a:cubicBezTo>
                  <a:lnTo>
                    <a:pt x="285130" y="275367"/>
                  </a:lnTo>
                  <a:cubicBezTo>
                    <a:pt x="285130" y="275367"/>
                    <a:pt x="272504" y="274762"/>
                    <a:pt x="266479" y="272945"/>
                  </a:cubicBezTo>
                  <a:moveTo>
                    <a:pt x="95649" y="156253"/>
                  </a:moveTo>
                  <a:lnTo>
                    <a:pt x="133557" y="47373"/>
                  </a:lnTo>
                  <a:lnTo>
                    <a:pt x="172041" y="156253"/>
                  </a:lnTo>
                  <a:lnTo>
                    <a:pt x="95649" y="156253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D025F04-2819-2104-5638-1A8835471D01}"/>
                </a:ext>
              </a:extLst>
            </p:cNvPr>
            <p:cNvSpPr/>
            <p:nvPr/>
          </p:nvSpPr>
          <p:spPr>
            <a:xfrm>
              <a:off x="450851" y="7519507"/>
              <a:ext cx="118813" cy="150376"/>
            </a:xfrm>
            <a:custGeom>
              <a:avLst/>
              <a:gdLst>
                <a:gd name="connsiteX0" fmla="*/ 7812 w 249038"/>
                <a:gd name="connsiteY0" fmla="*/ 315196 h 315195"/>
                <a:gd name="connsiteX1" fmla="*/ 2392 w 249038"/>
                <a:gd name="connsiteY1" fmla="*/ 311592 h 315195"/>
                <a:gd name="connsiteX2" fmla="*/ 2392 w 249038"/>
                <a:gd name="connsiteY2" fmla="*/ 309776 h 315195"/>
                <a:gd name="connsiteX3" fmla="*/ 16229 w 249038"/>
                <a:gd name="connsiteY3" fmla="*/ 307989 h 315195"/>
                <a:gd name="connsiteX4" fmla="*/ 30066 w 249038"/>
                <a:gd name="connsiteY4" fmla="*/ 287552 h 315195"/>
                <a:gd name="connsiteX5" fmla="*/ 31853 w 249038"/>
                <a:gd name="connsiteY5" fmla="*/ 208738 h 315195"/>
                <a:gd name="connsiteX6" fmla="*/ 31853 w 249038"/>
                <a:gd name="connsiteY6" fmla="*/ 144366 h 315195"/>
                <a:gd name="connsiteX7" fmla="*/ 30642 w 249038"/>
                <a:gd name="connsiteY7" fmla="*/ 27069 h 315195"/>
                <a:gd name="connsiteX8" fmla="*/ 15018 w 249038"/>
                <a:gd name="connsiteY8" fmla="*/ 6601 h 315195"/>
                <a:gd name="connsiteX9" fmla="*/ 2998 w 249038"/>
                <a:gd name="connsiteY9" fmla="*/ 5390 h 315195"/>
                <a:gd name="connsiteX10" fmla="*/ 0 w 249038"/>
                <a:gd name="connsiteY10" fmla="*/ 3603 h 315195"/>
                <a:gd name="connsiteX11" fmla="*/ 606 w 249038"/>
                <a:gd name="connsiteY11" fmla="*/ 0 h 315195"/>
                <a:gd name="connsiteX12" fmla="*/ 49323 w 249038"/>
                <a:gd name="connsiteY12" fmla="*/ 1786 h 315195"/>
                <a:gd name="connsiteX13" fmla="*/ 93832 w 249038"/>
                <a:gd name="connsiteY13" fmla="*/ 0 h 315195"/>
                <a:gd name="connsiteX14" fmla="*/ 93832 w 249038"/>
                <a:gd name="connsiteY14" fmla="*/ 3603 h 315195"/>
                <a:gd name="connsiteX15" fmla="*/ 91440 w 249038"/>
                <a:gd name="connsiteY15" fmla="*/ 5390 h 315195"/>
                <a:gd name="connsiteX16" fmla="*/ 79420 w 249038"/>
                <a:gd name="connsiteY16" fmla="*/ 6601 h 315195"/>
                <a:gd name="connsiteX17" fmla="*/ 64977 w 249038"/>
                <a:gd name="connsiteY17" fmla="*/ 27069 h 315195"/>
                <a:gd name="connsiteX18" fmla="*/ 64372 w 249038"/>
                <a:gd name="connsiteY18" fmla="*/ 144366 h 315195"/>
                <a:gd name="connsiteX19" fmla="*/ 64372 w 249038"/>
                <a:gd name="connsiteY19" fmla="*/ 209343 h 315195"/>
                <a:gd name="connsiteX20" fmla="*/ 72183 w 249038"/>
                <a:gd name="connsiteY20" fmla="*/ 289944 h 315195"/>
                <a:gd name="connsiteX21" fmla="*/ 161232 w 249038"/>
                <a:gd name="connsiteY21" fmla="*/ 299572 h 315195"/>
                <a:gd name="connsiteX22" fmla="*/ 174463 w 249038"/>
                <a:gd name="connsiteY22" fmla="*/ 299572 h 315195"/>
                <a:gd name="connsiteX23" fmla="*/ 233415 w 249038"/>
                <a:gd name="connsiteY23" fmla="*/ 281526 h 315195"/>
                <a:gd name="connsiteX24" fmla="*/ 241227 w 249038"/>
                <a:gd name="connsiteY24" fmla="*/ 262269 h 315195"/>
                <a:gd name="connsiteX25" fmla="*/ 244830 w 249038"/>
                <a:gd name="connsiteY25" fmla="*/ 256850 h 315195"/>
                <a:gd name="connsiteX26" fmla="*/ 249039 w 249038"/>
                <a:gd name="connsiteY26" fmla="*/ 256850 h 315195"/>
                <a:gd name="connsiteX27" fmla="*/ 240016 w 249038"/>
                <a:gd name="connsiteY27" fmla="*/ 306173 h 315195"/>
                <a:gd name="connsiteX28" fmla="*/ 228601 w 249038"/>
                <a:gd name="connsiteY28" fmla="*/ 315196 h 315195"/>
                <a:gd name="connsiteX29" fmla="*/ 7812 w 249038"/>
                <a:gd name="connsiteY29" fmla="*/ 315196 h 31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49038" h="315195">
                  <a:moveTo>
                    <a:pt x="7812" y="315196"/>
                  </a:moveTo>
                  <a:cubicBezTo>
                    <a:pt x="4209" y="315196"/>
                    <a:pt x="2392" y="311592"/>
                    <a:pt x="2392" y="311592"/>
                  </a:cubicBezTo>
                  <a:lnTo>
                    <a:pt x="2392" y="309776"/>
                  </a:lnTo>
                  <a:cubicBezTo>
                    <a:pt x="2392" y="309776"/>
                    <a:pt x="12626" y="308565"/>
                    <a:pt x="16229" y="307989"/>
                  </a:cubicBezTo>
                  <a:cubicBezTo>
                    <a:pt x="23435" y="306173"/>
                    <a:pt x="28250" y="297755"/>
                    <a:pt x="30066" y="287552"/>
                  </a:cubicBezTo>
                  <a:cubicBezTo>
                    <a:pt x="31853" y="271898"/>
                    <a:pt x="31853" y="243648"/>
                    <a:pt x="31853" y="208738"/>
                  </a:cubicBezTo>
                  <a:lnTo>
                    <a:pt x="31853" y="144366"/>
                  </a:lnTo>
                  <a:cubicBezTo>
                    <a:pt x="31853" y="87837"/>
                    <a:pt x="31853" y="39089"/>
                    <a:pt x="30642" y="27069"/>
                  </a:cubicBezTo>
                  <a:cubicBezTo>
                    <a:pt x="30036" y="15048"/>
                    <a:pt x="27038" y="9023"/>
                    <a:pt x="15018" y="6601"/>
                  </a:cubicBezTo>
                  <a:cubicBezTo>
                    <a:pt x="12626" y="5995"/>
                    <a:pt x="2998" y="5390"/>
                    <a:pt x="2998" y="5390"/>
                  </a:cubicBezTo>
                  <a:lnTo>
                    <a:pt x="0" y="3603"/>
                  </a:lnTo>
                  <a:lnTo>
                    <a:pt x="606" y="0"/>
                  </a:lnTo>
                  <a:cubicBezTo>
                    <a:pt x="606" y="0"/>
                    <a:pt x="47537" y="1786"/>
                    <a:pt x="49323" y="1786"/>
                  </a:cubicBezTo>
                  <a:cubicBezTo>
                    <a:pt x="51110" y="1786"/>
                    <a:pt x="93832" y="0"/>
                    <a:pt x="93832" y="0"/>
                  </a:cubicBezTo>
                  <a:lnTo>
                    <a:pt x="93832" y="3603"/>
                  </a:lnTo>
                  <a:lnTo>
                    <a:pt x="91440" y="5390"/>
                  </a:lnTo>
                  <a:cubicBezTo>
                    <a:pt x="91440" y="5390"/>
                    <a:pt x="83629" y="5995"/>
                    <a:pt x="79420" y="6601"/>
                  </a:cubicBezTo>
                  <a:cubicBezTo>
                    <a:pt x="68580" y="8417"/>
                    <a:pt x="65583" y="14412"/>
                    <a:pt x="64977" y="27069"/>
                  </a:cubicBezTo>
                  <a:cubicBezTo>
                    <a:pt x="64372" y="39089"/>
                    <a:pt x="64372" y="87837"/>
                    <a:pt x="64372" y="144366"/>
                  </a:cubicBezTo>
                  <a:lnTo>
                    <a:pt x="64372" y="209343"/>
                  </a:lnTo>
                  <a:cubicBezTo>
                    <a:pt x="64372" y="262875"/>
                    <a:pt x="66158" y="282737"/>
                    <a:pt x="72183" y="289944"/>
                  </a:cubicBezTo>
                  <a:cubicBezTo>
                    <a:pt x="78814" y="297150"/>
                    <a:pt x="119720" y="298966"/>
                    <a:pt x="161232" y="299572"/>
                  </a:cubicBezTo>
                  <a:lnTo>
                    <a:pt x="174463" y="299572"/>
                  </a:lnTo>
                  <a:cubicBezTo>
                    <a:pt x="215975" y="299572"/>
                    <a:pt x="225603" y="292366"/>
                    <a:pt x="233415" y="281526"/>
                  </a:cubicBezTo>
                  <a:cubicBezTo>
                    <a:pt x="237018" y="277318"/>
                    <a:pt x="240621" y="267689"/>
                    <a:pt x="241227" y="262269"/>
                  </a:cubicBezTo>
                  <a:cubicBezTo>
                    <a:pt x="242438" y="258666"/>
                    <a:pt x="244830" y="256850"/>
                    <a:pt x="244830" y="256850"/>
                  </a:cubicBezTo>
                  <a:lnTo>
                    <a:pt x="249039" y="256850"/>
                  </a:lnTo>
                  <a:cubicBezTo>
                    <a:pt x="249039" y="256850"/>
                    <a:pt x="242408" y="297150"/>
                    <a:pt x="240016" y="306173"/>
                  </a:cubicBezTo>
                  <a:cubicBezTo>
                    <a:pt x="238199" y="314620"/>
                    <a:pt x="237594" y="315196"/>
                    <a:pt x="228601" y="315196"/>
                  </a:cubicBezTo>
                  <a:lnTo>
                    <a:pt x="7812" y="315196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EACE874-CE1D-7E01-E530-936ED0F6164C}"/>
                </a:ext>
              </a:extLst>
            </p:cNvPr>
            <p:cNvSpPr/>
            <p:nvPr/>
          </p:nvSpPr>
          <p:spPr>
            <a:xfrm>
              <a:off x="986082" y="7540467"/>
              <a:ext cx="135151" cy="129444"/>
            </a:xfrm>
            <a:custGeom>
              <a:avLst/>
              <a:gdLst>
                <a:gd name="connsiteX0" fmla="*/ 265904 w 283283"/>
                <a:gd name="connsiteY0" fmla="*/ 265267 h 271322"/>
                <a:gd name="connsiteX1" fmla="*/ 222000 w 283283"/>
                <a:gd name="connsiteY1" fmla="*/ 239409 h 271322"/>
                <a:gd name="connsiteX2" fmla="*/ 147395 w 283283"/>
                <a:gd name="connsiteY2" fmla="*/ 147364 h 271322"/>
                <a:gd name="connsiteX3" fmla="*/ 191298 w 283283"/>
                <a:gd name="connsiteY3" fmla="*/ 64341 h 271322"/>
                <a:gd name="connsiteX4" fmla="*/ 166046 w 283283"/>
                <a:gd name="connsiteY4" fmla="*/ 15624 h 271322"/>
                <a:gd name="connsiteX5" fmla="*/ 88443 w 283283"/>
                <a:gd name="connsiteY5" fmla="*/ 0 h 271322"/>
                <a:gd name="connsiteX6" fmla="*/ 46326 w 283283"/>
                <a:gd name="connsiteY6" fmla="*/ 606 h 271322"/>
                <a:gd name="connsiteX7" fmla="*/ 0 w 283283"/>
                <a:gd name="connsiteY7" fmla="*/ 0 h 271322"/>
                <a:gd name="connsiteX8" fmla="*/ 0 w 283283"/>
                <a:gd name="connsiteY8" fmla="*/ 2392 h 271322"/>
                <a:gd name="connsiteX9" fmla="*/ 2998 w 283283"/>
                <a:gd name="connsiteY9" fmla="*/ 4814 h 271322"/>
                <a:gd name="connsiteX10" fmla="*/ 15018 w 283283"/>
                <a:gd name="connsiteY10" fmla="*/ 6025 h 271322"/>
                <a:gd name="connsiteX11" fmla="*/ 30642 w 283283"/>
                <a:gd name="connsiteY11" fmla="*/ 26463 h 271322"/>
                <a:gd name="connsiteX12" fmla="*/ 31247 w 283283"/>
                <a:gd name="connsiteY12" fmla="*/ 104066 h 271322"/>
                <a:gd name="connsiteX13" fmla="*/ 31247 w 283283"/>
                <a:gd name="connsiteY13" fmla="*/ 167226 h 271322"/>
                <a:gd name="connsiteX14" fmla="*/ 29430 w 283283"/>
                <a:gd name="connsiteY14" fmla="*/ 245435 h 271322"/>
                <a:gd name="connsiteX15" fmla="*/ 18591 w 283283"/>
                <a:gd name="connsiteY15" fmla="*/ 265297 h 271322"/>
                <a:gd name="connsiteX16" fmla="*/ 5359 w 283283"/>
                <a:gd name="connsiteY16" fmla="*/ 266508 h 271322"/>
                <a:gd name="connsiteX17" fmla="*/ 5359 w 283283"/>
                <a:gd name="connsiteY17" fmla="*/ 268900 h 271322"/>
                <a:gd name="connsiteX18" fmla="*/ 10779 w 283283"/>
                <a:gd name="connsiteY18" fmla="*/ 271322 h 271322"/>
                <a:gd name="connsiteX19" fmla="*/ 88988 w 283283"/>
                <a:gd name="connsiteY19" fmla="*/ 271322 h 271322"/>
                <a:gd name="connsiteX20" fmla="*/ 94408 w 283283"/>
                <a:gd name="connsiteY20" fmla="*/ 268900 h 271322"/>
                <a:gd name="connsiteX21" fmla="*/ 93802 w 283283"/>
                <a:gd name="connsiteY21" fmla="*/ 266508 h 271322"/>
                <a:gd name="connsiteX22" fmla="*/ 75756 w 283283"/>
                <a:gd name="connsiteY22" fmla="*/ 265297 h 271322"/>
                <a:gd name="connsiteX23" fmla="*/ 61313 w 283283"/>
                <a:gd name="connsiteY23" fmla="*/ 245435 h 271322"/>
                <a:gd name="connsiteX24" fmla="*/ 60102 w 283283"/>
                <a:gd name="connsiteY24" fmla="*/ 167226 h 271322"/>
                <a:gd name="connsiteX25" fmla="*/ 60102 w 283283"/>
                <a:gd name="connsiteY25" fmla="*/ 158809 h 271322"/>
                <a:gd name="connsiteX26" fmla="*/ 62525 w 283283"/>
                <a:gd name="connsiteY26" fmla="*/ 155811 h 271322"/>
                <a:gd name="connsiteX27" fmla="*/ 118449 w 283283"/>
                <a:gd name="connsiteY27" fmla="*/ 156417 h 271322"/>
                <a:gd name="connsiteX28" fmla="*/ 123263 w 283283"/>
                <a:gd name="connsiteY28" fmla="*/ 158839 h 271322"/>
                <a:gd name="connsiteX29" fmla="*/ 162382 w 283283"/>
                <a:gd name="connsiteY29" fmla="*/ 211765 h 271322"/>
                <a:gd name="connsiteX30" fmla="*/ 210495 w 283283"/>
                <a:gd name="connsiteY30" fmla="*/ 264692 h 271322"/>
                <a:gd name="connsiteX31" fmla="*/ 249009 w 283283"/>
                <a:gd name="connsiteY31" fmla="*/ 271322 h 271322"/>
                <a:gd name="connsiteX32" fmla="*/ 274866 w 283283"/>
                <a:gd name="connsiteY32" fmla="*/ 271322 h 271322"/>
                <a:gd name="connsiteX33" fmla="*/ 283283 w 283283"/>
                <a:gd name="connsiteY33" fmla="*/ 268900 h 271322"/>
                <a:gd name="connsiteX34" fmla="*/ 281467 w 283283"/>
                <a:gd name="connsiteY34" fmla="*/ 266508 h 271322"/>
                <a:gd name="connsiteX35" fmla="*/ 265843 w 283283"/>
                <a:gd name="connsiteY35" fmla="*/ 265297 h 271322"/>
                <a:gd name="connsiteX36" fmla="*/ 138917 w 283283"/>
                <a:gd name="connsiteY36" fmla="*/ 138371 h 271322"/>
                <a:gd name="connsiteX37" fmla="*/ 99827 w 283283"/>
                <a:gd name="connsiteY37" fmla="*/ 145577 h 271322"/>
                <a:gd name="connsiteX38" fmla="*/ 62525 w 283283"/>
                <a:gd name="connsiteY38" fmla="*/ 139552 h 271322"/>
                <a:gd name="connsiteX39" fmla="*/ 60102 w 283283"/>
                <a:gd name="connsiteY39" fmla="*/ 135343 h 271322"/>
                <a:gd name="connsiteX40" fmla="*/ 60102 w 283283"/>
                <a:gd name="connsiteY40" fmla="*/ 17410 h 271322"/>
                <a:gd name="connsiteX41" fmla="*/ 62525 w 283283"/>
                <a:gd name="connsiteY41" fmla="*/ 13201 h 271322"/>
                <a:gd name="connsiteX42" fmla="*/ 86596 w 283283"/>
                <a:gd name="connsiteY42" fmla="*/ 11385 h 271322"/>
                <a:gd name="connsiteX43" fmla="*/ 160596 w 283283"/>
                <a:gd name="connsiteY43" fmla="*/ 82962 h 271322"/>
                <a:gd name="connsiteX44" fmla="*/ 138947 w 283283"/>
                <a:gd name="connsiteY44" fmla="*/ 138311 h 27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83283" h="271322">
                  <a:moveTo>
                    <a:pt x="265904" y="265267"/>
                  </a:moveTo>
                  <a:cubicBezTo>
                    <a:pt x="256881" y="264056"/>
                    <a:pt x="241833" y="259847"/>
                    <a:pt x="222000" y="239409"/>
                  </a:cubicBezTo>
                  <a:cubicBezTo>
                    <a:pt x="201562" y="217155"/>
                    <a:pt x="176886" y="185272"/>
                    <a:pt x="147395" y="147364"/>
                  </a:cubicBezTo>
                  <a:cubicBezTo>
                    <a:pt x="179883" y="117873"/>
                    <a:pt x="191298" y="90834"/>
                    <a:pt x="191298" y="64341"/>
                  </a:cubicBezTo>
                  <a:cubicBezTo>
                    <a:pt x="191298" y="39664"/>
                    <a:pt x="175039" y="22224"/>
                    <a:pt x="166046" y="15624"/>
                  </a:cubicBezTo>
                  <a:cubicBezTo>
                    <a:pt x="147395" y="1786"/>
                    <a:pt x="111303" y="0"/>
                    <a:pt x="88443" y="0"/>
                  </a:cubicBezTo>
                  <a:cubicBezTo>
                    <a:pt x="77603" y="0"/>
                    <a:pt x="49929" y="606"/>
                    <a:pt x="46326" y="606"/>
                  </a:cubicBezTo>
                  <a:cubicBezTo>
                    <a:pt x="44539" y="606"/>
                    <a:pt x="0" y="0"/>
                    <a:pt x="0" y="0"/>
                  </a:cubicBezTo>
                  <a:lnTo>
                    <a:pt x="0" y="2392"/>
                  </a:lnTo>
                  <a:cubicBezTo>
                    <a:pt x="0" y="2392"/>
                    <a:pt x="1211" y="4814"/>
                    <a:pt x="2998" y="4814"/>
                  </a:cubicBezTo>
                  <a:cubicBezTo>
                    <a:pt x="5995" y="4814"/>
                    <a:pt x="12020" y="5420"/>
                    <a:pt x="15018" y="6025"/>
                  </a:cubicBezTo>
                  <a:cubicBezTo>
                    <a:pt x="27039" y="8448"/>
                    <a:pt x="29461" y="13837"/>
                    <a:pt x="30642" y="26463"/>
                  </a:cubicBezTo>
                  <a:cubicBezTo>
                    <a:pt x="31247" y="37908"/>
                    <a:pt x="31247" y="48112"/>
                    <a:pt x="31247" y="104066"/>
                  </a:cubicBezTo>
                  <a:lnTo>
                    <a:pt x="31247" y="167226"/>
                  </a:lnTo>
                  <a:cubicBezTo>
                    <a:pt x="31247" y="202107"/>
                    <a:pt x="31247" y="230386"/>
                    <a:pt x="29430" y="245435"/>
                  </a:cubicBezTo>
                  <a:cubicBezTo>
                    <a:pt x="27644" y="255669"/>
                    <a:pt x="25827" y="263480"/>
                    <a:pt x="18591" y="265297"/>
                  </a:cubicBezTo>
                  <a:cubicBezTo>
                    <a:pt x="15593" y="265903"/>
                    <a:pt x="5359" y="266508"/>
                    <a:pt x="5359" y="266508"/>
                  </a:cubicBezTo>
                  <a:lnTo>
                    <a:pt x="5359" y="268900"/>
                  </a:lnTo>
                  <a:cubicBezTo>
                    <a:pt x="5359" y="268900"/>
                    <a:pt x="7146" y="271322"/>
                    <a:pt x="10779" y="271322"/>
                  </a:cubicBezTo>
                  <a:lnTo>
                    <a:pt x="88988" y="271322"/>
                  </a:lnTo>
                  <a:cubicBezTo>
                    <a:pt x="92591" y="271322"/>
                    <a:pt x="94408" y="268900"/>
                    <a:pt x="94408" y="268900"/>
                  </a:cubicBezTo>
                  <a:lnTo>
                    <a:pt x="93802" y="266508"/>
                  </a:lnTo>
                  <a:cubicBezTo>
                    <a:pt x="93802" y="266508"/>
                    <a:pt x="80571" y="265903"/>
                    <a:pt x="75756" y="265297"/>
                  </a:cubicBezTo>
                  <a:cubicBezTo>
                    <a:pt x="64917" y="263480"/>
                    <a:pt x="62525" y="255669"/>
                    <a:pt x="61313" y="245435"/>
                  </a:cubicBezTo>
                  <a:cubicBezTo>
                    <a:pt x="60102" y="230386"/>
                    <a:pt x="60102" y="202137"/>
                    <a:pt x="60102" y="167226"/>
                  </a:cubicBezTo>
                  <a:lnTo>
                    <a:pt x="60102" y="158809"/>
                  </a:lnTo>
                  <a:cubicBezTo>
                    <a:pt x="60102" y="156992"/>
                    <a:pt x="60708" y="155811"/>
                    <a:pt x="62525" y="155811"/>
                  </a:cubicBezTo>
                  <a:lnTo>
                    <a:pt x="118449" y="156417"/>
                  </a:lnTo>
                  <a:cubicBezTo>
                    <a:pt x="120871" y="156417"/>
                    <a:pt x="121446" y="157022"/>
                    <a:pt x="123263" y="158839"/>
                  </a:cubicBezTo>
                  <a:cubicBezTo>
                    <a:pt x="130499" y="167862"/>
                    <a:pt x="147334" y="191933"/>
                    <a:pt x="162382" y="211765"/>
                  </a:cubicBezTo>
                  <a:cubicBezTo>
                    <a:pt x="182820" y="238834"/>
                    <a:pt x="195476" y="256274"/>
                    <a:pt x="210495" y="264692"/>
                  </a:cubicBezTo>
                  <a:cubicBezTo>
                    <a:pt x="220123" y="269506"/>
                    <a:pt x="229146" y="271322"/>
                    <a:pt x="249009" y="271322"/>
                  </a:cubicBezTo>
                  <a:lnTo>
                    <a:pt x="274866" y="271322"/>
                  </a:lnTo>
                  <a:cubicBezTo>
                    <a:pt x="280892" y="271322"/>
                    <a:pt x="283283" y="268900"/>
                    <a:pt x="283283" y="268900"/>
                  </a:cubicBezTo>
                  <a:lnTo>
                    <a:pt x="281467" y="266508"/>
                  </a:lnTo>
                  <a:cubicBezTo>
                    <a:pt x="281467" y="266508"/>
                    <a:pt x="273049" y="266508"/>
                    <a:pt x="265843" y="265297"/>
                  </a:cubicBezTo>
                  <a:moveTo>
                    <a:pt x="138917" y="138371"/>
                  </a:moveTo>
                  <a:cubicBezTo>
                    <a:pt x="130499" y="144396"/>
                    <a:pt x="108820" y="145577"/>
                    <a:pt x="99827" y="145577"/>
                  </a:cubicBezTo>
                  <a:cubicBezTo>
                    <a:pt x="84174" y="145577"/>
                    <a:pt x="67944" y="142580"/>
                    <a:pt x="62525" y="139552"/>
                  </a:cubicBezTo>
                  <a:cubicBezTo>
                    <a:pt x="60708" y="138341"/>
                    <a:pt x="60102" y="137130"/>
                    <a:pt x="60102" y="135343"/>
                  </a:cubicBezTo>
                  <a:lnTo>
                    <a:pt x="60102" y="17410"/>
                  </a:lnTo>
                  <a:cubicBezTo>
                    <a:pt x="60102" y="15593"/>
                    <a:pt x="60708" y="13807"/>
                    <a:pt x="62525" y="13201"/>
                  </a:cubicBezTo>
                  <a:cubicBezTo>
                    <a:pt x="66128" y="11990"/>
                    <a:pt x="75756" y="11385"/>
                    <a:pt x="86596" y="11385"/>
                  </a:cubicBezTo>
                  <a:cubicBezTo>
                    <a:pt x="125110" y="11385"/>
                    <a:pt x="160596" y="38453"/>
                    <a:pt x="160596" y="82962"/>
                  </a:cubicBezTo>
                  <a:cubicBezTo>
                    <a:pt x="160596" y="110636"/>
                    <a:pt x="151573" y="129893"/>
                    <a:pt x="138947" y="138311"/>
                  </a:cubicBezTo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78DAA7E-97A2-AD9F-B782-93AD9DD8E8D7}"/>
                </a:ext>
              </a:extLst>
            </p:cNvPr>
            <p:cNvSpPr/>
            <p:nvPr/>
          </p:nvSpPr>
          <p:spPr>
            <a:xfrm>
              <a:off x="1132731" y="7540163"/>
              <a:ext cx="119978" cy="129762"/>
            </a:xfrm>
            <a:custGeom>
              <a:avLst/>
              <a:gdLst>
                <a:gd name="connsiteX0" fmla="*/ 108305 w 251479"/>
                <a:gd name="connsiteY0" fmla="*/ 271898 h 271988"/>
                <a:gd name="connsiteX1" fmla="*/ 215975 w 251479"/>
                <a:gd name="connsiteY1" fmla="*/ 229781 h 271988"/>
                <a:gd name="connsiteX2" fmla="*/ 226209 w 251479"/>
                <a:gd name="connsiteY2" fmla="*/ 215944 h 271988"/>
                <a:gd name="connsiteX3" fmla="*/ 239440 w 251479"/>
                <a:gd name="connsiteY3" fmla="*/ 191873 h 271988"/>
                <a:gd name="connsiteX4" fmla="*/ 217791 w 251479"/>
                <a:gd name="connsiteY4" fmla="*/ 39089 h 271988"/>
                <a:gd name="connsiteX5" fmla="*/ 108305 w 251479"/>
                <a:gd name="connsiteY5" fmla="*/ 606 h 271988"/>
                <a:gd name="connsiteX6" fmla="*/ 0 w 251479"/>
                <a:gd name="connsiteY6" fmla="*/ 0 h 271988"/>
                <a:gd name="connsiteX7" fmla="*/ 0 w 251479"/>
                <a:gd name="connsiteY7" fmla="*/ 3603 h 271988"/>
                <a:gd name="connsiteX8" fmla="*/ 2422 w 251479"/>
                <a:gd name="connsiteY8" fmla="*/ 5420 h 271988"/>
                <a:gd name="connsiteX9" fmla="*/ 7236 w 251479"/>
                <a:gd name="connsiteY9" fmla="*/ 6025 h 271988"/>
                <a:gd name="connsiteX10" fmla="*/ 7812 w 251479"/>
                <a:gd name="connsiteY10" fmla="*/ 6025 h 271988"/>
                <a:gd name="connsiteX11" fmla="*/ 18046 w 251479"/>
                <a:gd name="connsiteY11" fmla="*/ 6631 h 271988"/>
                <a:gd name="connsiteX12" fmla="*/ 21043 w 251479"/>
                <a:gd name="connsiteY12" fmla="*/ 7842 h 271988"/>
                <a:gd name="connsiteX13" fmla="*/ 22255 w 251479"/>
                <a:gd name="connsiteY13" fmla="*/ 7842 h 271988"/>
                <a:gd name="connsiteX14" fmla="*/ 25252 w 251479"/>
                <a:gd name="connsiteY14" fmla="*/ 9053 h 271988"/>
                <a:gd name="connsiteX15" fmla="*/ 27644 w 251479"/>
                <a:gd name="connsiteY15" fmla="*/ 10870 h 271988"/>
                <a:gd name="connsiteX16" fmla="*/ 29461 w 251479"/>
                <a:gd name="connsiteY16" fmla="*/ 12687 h 271988"/>
                <a:gd name="connsiteX17" fmla="*/ 30066 w 251479"/>
                <a:gd name="connsiteY17" fmla="*/ 13292 h 271988"/>
                <a:gd name="connsiteX18" fmla="*/ 30066 w 251479"/>
                <a:gd name="connsiteY18" fmla="*/ 14503 h 271988"/>
                <a:gd name="connsiteX19" fmla="*/ 33064 w 251479"/>
                <a:gd name="connsiteY19" fmla="*/ 27129 h 271988"/>
                <a:gd name="connsiteX20" fmla="*/ 33669 w 251479"/>
                <a:gd name="connsiteY20" fmla="*/ 104732 h 271988"/>
                <a:gd name="connsiteX21" fmla="*/ 33669 w 251479"/>
                <a:gd name="connsiteY21" fmla="*/ 167892 h 271988"/>
                <a:gd name="connsiteX22" fmla="*/ 33064 w 251479"/>
                <a:gd name="connsiteY22" fmla="*/ 244890 h 271988"/>
                <a:gd name="connsiteX23" fmla="*/ 30066 w 251479"/>
                <a:gd name="connsiteY23" fmla="*/ 258121 h 271988"/>
                <a:gd name="connsiteX24" fmla="*/ 30066 w 251479"/>
                <a:gd name="connsiteY24" fmla="*/ 258727 h 271988"/>
                <a:gd name="connsiteX25" fmla="*/ 29461 w 251479"/>
                <a:gd name="connsiteY25" fmla="*/ 259332 h 271988"/>
                <a:gd name="connsiteX26" fmla="*/ 27644 w 251479"/>
                <a:gd name="connsiteY26" fmla="*/ 261149 h 271988"/>
                <a:gd name="connsiteX27" fmla="*/ 25252 w 251479"/>
                <a:gd name="connsiteY27" fmla="*/ 262935 h 271988"/>
                <a:gd name="connsiteX28" fmla="*/ 22255 w 251479"/>
                <a:gd name="connsiteY28" fmla="*/ 264752 h 271988"/>
                <a:gd name="connsiteX29" fmla="*/ 21043 w 251479"/>
                <a:gd name="connsiteY29" fmla="*/ 264752 h 271988"/>
                <a:gd name="connsiteX30" fmla="*/ 18046 w 251479"/>
                <a:gd name="connsiteY30" fmla="*/ 265358 h 271988"/>
                <a:gd name="connsiteX31" fmla="*/ 7812 w 251479"/>
                <a:gd name="connsiteY31" fmla="*/ 266569 h 271988"/>
                <a:gd name="connsiteX32" fmla="*/ 2998 w 251479"/>
                <a:gd name="connsiteY32" fmla="*/ 266569 h 271988"/>
                <a:gd name="connsiteX33" fmla="*/ 1211 w 251479"/>
                <a:gd name="connsiteY33" fmla="*/ 268991 h 271988"/>
                <a:gd name="connsiteX34" fmla="*/ 1211 w 251479"/>
                <a:gd name="connsiteY34" fmla="*/ 271989 h 271988"/>
                <a:gd name="connsiteX35" fmla="*/ 108275 w 251479"/>
                <a:gd name="connsiteY35" fmla="*/ 271989 h 271988"/>
                <a:gd name="connsiteX36" fmla="*/ 116723 w 251479"/>
                <a:gd name="connsiteY36" fmla="*/ 259272 h 271988"/>
                <a:gd name="connsiteX37" fmla="*/ 72819 w 251479"/>
                <a:gd name="connsiteY37" fmla="*/ 258061 h 271988"/>
                <a:gd name="connsiteX38" fmla="*/ 64402 w 251479"/>
                <a:gd name="connsiteY38" fmla="*/ 255669 h 271988"/>
                <a:gd name="connsiteX39" fmla="*/ 62585 w 251479"/>
                <a:gd name="connsiteY39" fmla="*/ 249643 h 271988"/>
                <a:gd name="connsiteX40" fmla="*/ 61980 w 251479"/>
                <a:gd name="connsiteY40" fmla="*/ 173252 h 271988"/>
                <a:gd name="connsiteX41" fmla="*/ 61980 w 251479"/>
                <a:gd name="connsiteY41" fmla="*/ 98676 h 271988"/>
                <a:gd name="connsiteX42" fmla="*/ 62585 w 251479"/>
                <a:gd name="connsiteY42" fmla="*/ 22890 h 271988"/>
                <a:gd name="connsiteX43" fmla="*/ 64402 w 251479"/>
                <a:gd name="connsiteY43" fmla="*/ 16865 h 271988"/>
                <a:gd name="connsiteX44" fmla="*/ 72819 w 251479"/>
                <a:gd name="connsiteY44" fmla="*/ 13867 h 271988"/>
                <a:gd name="connsiteX45" fmla="*/ 89654 w 251479"/>
                <a:gd name="connsiteY45" fmla="*/ 12656 h 271988"/>
                <a:gd name="connsiteX46" fmla="*/ 115512 w 251479"/>
                <a:gd name="connsiteY46" fmla="*/ 13262 h 271988"/>
                <a:gd name="connsiteX47" fmla="*/ 138372 w 251479"/>
                <a:gd name="connsiteY47" fmla="*/ 18076 h 271988"/>
                <a:gd name="connsiteX48" fmla="*/ 160051 w 251479"/>
                <a:gd name="connsiteY48" fmla="*/ 27705 h 271988"/>
                <a:gd name="connsiteX49" fmla="*/ 220789 w 251479"/>
                <a:gd name="connsiteY49" fmla="*/ 137796 h 271988"/>
                <a:gd name="connsiteX50" fmla="*/ 172071 w 251479"/>
                <a:gd name="connsiteY50" fmla="*/ 243648 h 271988"/>
                <a:gd name="connsiteX51" fmla="*/ 116723 w 251479"/>
                <a:gd name="connsiteY51" fmla="*/ 259272 h 271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51479" h="271988">
                  <a:moveTo>
                    <a:pt x="108305" y="271898"/>
                  </a:moveTo>
                  <a:cubicBezTo>
                    <a:pt x="152209" y="271898"/>
                    <a:pt x="184092" y="262269"/>
                    <a:pt x="215975" y="229781"/>
                  </a:cubicBezTo>
                  <a:cubicBezTo>
                    <a:pt x="219578" y="226178"/>
                    <a:pt x="223181" y="221364"/>
                    <a:pt x="226209" y="215944"/>
                  </a:cubicBezTo>
                  <a:cubicBezTo>
                    <a:pt x="226209" y="215944"/>
                    <a:pt x="235837" y="200896"/>
                    <a:pt x="239440" y="191873"/>
                  </a:cubicBezTo>
                  <a:cubicBezTo>
                    <a:pt x="272535" y="107669"/>
                    <a:pt x="227995" y="49323"/>
                    <a:pt x="217791" y="39089"/>
                  </a:cubicBezTo>
                  <a:cubicBezTo>
                    <a:pt x="182911" y="5390"/>
                    <a:pt x="145003" y="1786"/>
                    <a:pt x="108305" y="606"/>
                  </a:cubicBezTo>
                  <a:cubicBezTo>
                    <a:pt x="106489" y="606"/>
                    <a:pt x="0" y="0"/>
                    <a:pt x="0" y="0"/>
                  </a:cubicBezTo>
                  <a:lnTo>
                    <a:pt x="0" y="3603"/>
                  </a:lnTo>
                  <a:cubicBezTo>
                    <a:pt x="0" y="3603"/>
                    <a:pt x="1211" y="5420"/>
                    <a:pt x="2422" y="5420"/>
                  </a:cubicBezTo>
                  <a:cubicBezTo>
                    <a:pt x="3633" y="5420"/>
                    <a:pt x="4814" y="5420"/>
                    <a:pt x="7236" y="6025"/>
                  </a:cubicBezTo>
                  <a:lnTo>
                    <a:pt x="7812" y="6025"/>
                  </a:lnTo>
                  <a:cubicBezTo>
                    <a:pt x="12020" y="6025"/>
                    <a:pt x="16229" y="6025"/>
                    <a:pt x="18046" y="6631"/>
                  </a:cubicBezTo>
                  <a:cubicBezTo>
                    <a:pt x="19257" y="7236"/>
                    <a:pt x="20438" y="7236"/>
                    <a:pt x="21043" y="7842"/>
                  </a:cubicBezTo>
                  <a:lnTo>
                    <a:pt x="22255" y="7842"/>
                  </a:lnTo>
                  <a:cubicBezTo>
                    <a:pt x="23435" y="8448"/>
                    <a:pt x="24041" y="8448"/>
                    <a:pt x="25252" y="9053"/>
                  </a:cubicBezTo>
                  <a:cubicBezTo>
                    <a:pt x="26463" y="9659"/>
                    <a:pt x="27038" y="10264"/>
                    <a:pt x="27644" y="10870"/>
                  </a:cubicBezTo>
                  <a:cubicBezTo>
                    <a:pt x="28250" y="11475"/>
                    <a:pt x="28855" y="12081"/>
                    <a:pt x="29461" y="12687"/>
                  </a:cubicBezTo>
                  <a:lnTo>
                    <a:pt x="30066" y="13292"/>
                  </a:lnTo>
                  <a:lnTo>
                    <a:pt x="30066" y="14503"/>
                  </a:lnTo>
                  <a:cubicBezTo>
                    <a:pt x="32458" y="17501"/>
                    <a:pt x="33064" y="21740"/>
                    <a:pt x="33064" y="27129"/>
                  </a:cubicBezTo>
                  <a:cubicBezTo>
                    <a:pt x="33669" y="38574"/>
                    <a:pt x="33669" y="48778"/>
                    <a:pt x="33669" y="104732"/>
                  </a:cubicBezTo>
                  <a:lnTo>
                    <a:pt x="33669" y="167892"/>
                  </a:lnTo>
                  <a:cubicBezTo>
                    <a:pt x="33669" y="223241"/>
                    <a:pt x="33669" y="233445"/>
                    <a:pt x="33064" y="244890"/>
                  </a:cubicBezTo>
                  <a:cubicBezTo>
                    <a:pt x="33064" y="250915"/>
                    <a:pt x="32458" y="255124"/>
                    <a:pt x="30066" y="258121"/>
                  </a:cubicBezTo>
                  <a:lnTo>
                    <a:pt x="30066" y="258727"/>
                  </a:lnTo>
                  <a:cubicBezTo>
                    <a:pt x="30066" y="259332"/>
                    <a:pt x="29461" y="259332"/>
                    <a:pt x="29461" y="259332"/>
                  </a:cubicBezTo>
                  <a:cubicBezTo>
                    <a:pt x="28855" y="259938"/>
                    <a:pt x="28250" y="260543"/>
                    <a:pt x="27644" y="261149"/>
                  </a:cubicBezTo>
                  <a:cubicBezTo>
                    <a:pt x="27038" y="261755"/>
                    <a:pt x="26433" y="262360"/>
                    <a:pt x="25252" y="262935"/>
                  </a:cubicBezTo>
                  <a:cubicBezTo>
                    <a:pt x="24041" y="263541"/>
                    <a:pt x="23435" y="264147"/>
                    <a:pt x="22255" y="264752"/>
                  </a:cubicBezTo>
                  <a:lnTo>
                    <a:pt x="21043" y="264752"/>
                  </a:lnTo>
                  <a:cubicBezTo>
                    <a:pt x="20438" y="265358"/>
                    <a:pt x="19257" y="265358"/>
                    <a:pt x="18046" y="265358"/>
                  </a:cubicBezTo>
                  <a:cubicBezTo>
                    <a:pt x="16229" y="265963"/>
                    <a:pt x="12020" y="266569"/>
                    <a:pt x="7812" y="266569"/>
                  </a:cubicBezTo>
                  <a:lnTo>
                    <a:pt x="2998" y="266569"/>
                  </a:lnTo>
                  <a:cubicBezTo>
                    <a:pt x="1786" y="266569"/>
                    <a:pt x="1211" y="268991"/>
                    <a:pt x="1211" y="268991"/>
                  </a:cubicBezTo>
                  <a:lnTo>
                    <a:pt x="1211" y="271989"/>
                  </a:lnTo>
                  <a:lnTo>
                    <a:pt x="108275" y="271989"/>
                  </a:lnTo>
                  <a:close/>
                  <a:moveTo>
                    <a:pt x="116723" y="259272"/>
                  </a:moveTo>
                  <a:cubicBezTo>
                    <a:pt x="100494" y="260483"/>
                    <a:pt x="77633" y="258666"/>
                    <a:pt x="72819" y="258061"/>
                  </a:cubicBezTo>
                  <a:lnTo>
                    <a:pt x="64402" y="255669"/>
                  </a:lnTo>
                  <a:cubicBezTo>
                    <a:pt x="63191" y="253852"/>
                    <a:pt x="62585" y="252671"/>
                    <a:pt x="62585" y="249643"/>
                  </a:cubicBezTo>
                  <a:cubicBezTo>
                    <a:pt x="61980" y="237623"/>
                    <a:pt x="61980" y="200926"/>
                    <a:pt x="61980" y="173252"/>
                  </a:cubicBezTo>
                  <a:lnTo>
                    <a:pt x="61980" y="98676"/>
                  </a:lnTo>
                  <a:cubicBezTo>
                    <a:pt x="61980" y="71608"/>
                    <a:pt x="61980" y="34911"/>
                    <a:pt x="62585" y="22890"/>
                  </a:cubicBezTo>
                  <a:cubicBezTo>
                    <a:pt x="62585" y="19893"/>
                    <a:pt x="63191" y="18076"/>
                    <a:pt x="64402" y="16865"/>
                  </a:cubicBezTo>
                  <a:lnTo>
                    <a:pt x="72819" y="13867"/>
                  </a:lnTo>
                  <a:cubicBezTo>
                    <a:pt x="77633" y="13262"/>
                    <a:pt x="89048" y="12656"/>
                    <a:pt x="89654" y="12656"/>
                  </a:cubicBezTo>
                  <a:cubicBezTo>
                    <a:pt x="98677" y="12051"/>
                    <a:pt x="105277" y="12051"/>
                    <a:pt x="115512" y="13262"/>
                  </a:cubicBezTo>
                  <a:cubicBezTo>
                    <a:pt x="129349" y="15079"/>
                    <a:pt x="138372" y="18076"/>
                    <a:pt x="138372" y="18076"/>
                  </a:cubicBezTo>
                  <a:cubicBezTo>
                    <a:pt x="148000" y="21074"/>
                    <a:pt x="152209" y="22890"/>
                    <a:pt x="160051" y="27705"/>
                  </a:cubicBezTo>
                  <a:cubicBezTo>
                    <a:pt x="196748" y="48748"/>
                    <a:pt x="220789" y="81236"/>
                    <a:pt x="220789" y="137796"/>
                  </a:cubicBezTo>
                  <a:cubicBezTo>
                    <a:pt x="221395" y="186513"/>
                    <a:pt x="206346" y="223816"/>
                    <a:pt x="172071" y="243648"/>
                  </a:cubicBezTo>
                  <a:cubicBezTo>
                    <a:pt x="155842" y="253277"/>
                    <a:pt x="141399" y="258091"/>
                    <a:pt x="116723" y="259272"/>
                  </a:cubicBezTo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36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GB" noProof="0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3" name="Client Name/Presentation Title">
            <a:extLst>
              <a:ext uri="{FF2B5EF4-FFF2-40B4-BE49-F238E27FC236}">
                <a16:creationId xmlns:a16="http://schemas.microsoft.com/office/drawing/2014/main" id="{190AC87D-EC21-4604-B49D-55B5BF9C4C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 noProof="0"/>
              <a:t>Lazard RHQ Governance Framewo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F7F16-DFBD-474A-A885-535A46EC7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810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3" name="Client Name/Presentation Title">
            <a:extLst>
              <a:ext uri="{FF2B5EF4-FFF2-40B4-BE49-F238E27FC236}">
                <a16:creationId xmlns:a16="http://schemas.microsoft.com/office/drawing/2014/main" id="{ABAD9868-3A3C-492A-8C60-18C51EF743B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F26A15-E92F-49A1-992B-5B5EA9011A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939206-C897-4BD6-AB56-902B0984ED8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86063" y="1571556"/>
            <a:ext cx="4617605" cy="488163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/>
              <a:t>Use Alt + Shift + Right or Left Arrow to adjust your text level</a:t>
            </a:r>
          </a:p>
          <a:p>
            <a:pPr lvl="1"/>
            <a:r>
              <a:rPr lang="en-US" noProof="0"/>
              <a:t>Bullet 1</a:t>
            </a:r>
          </a:p>
          <a:p>
            <a:pPr lvl="2"/>
            <a:r>
              <a:rPr lang="en-US" noProof="0"/>
              <a:t>Bullet 2</a:t>
            </a:r>
          </a:p>
          <a:p>
            <a:pPr lvl="3"/>
            <a:r>
              <a:rPr lang="en-US" noProof="0"/>
              <a:t>Bullet 3</a:t>
            </a:r>
          </a:p>
          <a:p>
            <a:pPr lvl="4"/>
            <a:r>
              <a:rPr lang="en-US" noProof="0"/>
              <a:t>Bullet 4</a:t>
            </a:r>
          </a:p>
          <a:p>
            <a:pPr lvl="5"/>
            <a:r>
              <a:rPr lang="en-US" noProof="0"/>
              <a:t>Normal Text</a:t>
            </a:r>
          </a:p>
          <a:p>
            <a:pPr lvl="6"/>
            <a:r>
              <a:rPr lang="en-US" noProof="0"/>
              <a:t>Tiny Bullet 1</a:t>
            </a:r>
          </a:p>
          <a:p>
            <a:pPr lvl="7"/>
            <a:r>
              <a:rPr lang="en-US" noProof="0"/>
              <a:t>Tiny Bullet 2</a:t>
            </a:r>
          </a:p>
          <a:p>
            <a:pPr lvl="8"/>
            <a:r>
              <a:rPr lang="en-US" noProof="0"/>
              <a:t>Tiny Bullet 3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206584-5451-4C35-9406-B7ED1286554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589732" y="1571556"/>
            <a:ext cx="4617605" cy="488163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3" y="1742686"/>
            <a:ext cx="4617605" cy="290144"/>
          </a:xfrm>
        </p:spPr>
        <p:txBody>
          <a:bodyPr vert="horz" lIns="0" tIns="76200" rIns="0" bIns="0" rtlCol="0" anchor="b">
            <a:spAutoFit/>
          </a:bodyPr>
          <a:lstStyle>
            <a:lvl1pPr>
              <a:lnSpc>
                <a:spcPct val="85000"/>
              </a:lnSpc>
              <a:spcBef>
                <a:spcPts val="0"/>
              </a:spcBef>
              <a:defRPr lang="en-US" sz="1600" cap="none" dirty="0" smtClean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 noProof="0"/>
              <a:t>Column Head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589732" y="1742686"/>
            <a:ext cx="4617605" cy="290144"/>
          </a:xfrm>
        </p:spPr>
        <p:txBody>
          <a:bodyPr vert="horz" lIns="0" tIns="76200" rIns="0" bIns="0" rtlCol="0" anchor="b">
            <a:spAutoFit/>
          </a:bodyPr>
          <a:lstStyle>
            <a:lvl1pPr>
              <a:lnSpc>
                <a:spcPct val="85000"/>
              </a:lnSpc>
              <a:spcBef>
                <a:spcPts val="0"/>
              </a:spcBef>
              <a:defRPr lang="en-US" sz="1600" cap="none" dirty="0" smtClean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Column 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9E2FF311-AB80-4763-AFF8-0E95773C223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A4768E-D70D-4E34-8BA1-36095EDD9A4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3506257-2A24-42B2-B67D-C70A76FE62E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86063" y="2032830"/>
            <a:ext cx="4617605" cy="4610858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E10F376-E4DE-46C3-B796-AD5B913166F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589732" y="2032830"/>
            <a:ext cx="4617605" cy="4610858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to-a-Page – Un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9721273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4" y="2402227"/>
            <a:ext cx="9721273" cy="4050962"/>
          </a:xfrm>
        </p:spPr>
        <p:txBody>
          <a:bodyPr lIns="73152" rIns="73152">
            <a:noAutofit/>
          </a:bodyPr>
          <a:lstStyle>
            <a:lvl1pPr>
              <a:lnSpc>
                <a:spcPct val="100000"/>
              </a:lnSpc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defRPr sz="1000"/>
            </a:lvl3pPr>
            <a:lvl4pPr marL="548640" indent="-182880">
              <a:lnSpc>
                <a:spcPct val="100000"/>
              </a:lnSpc>
              <a:defRPr sz="1000"/>
            </a:lvl4pPr>
            <a:lvl5pPr marL="731520" indent="-182880">
              <a:lnSpc>
                <a:spcPct val="100000"/>
              </a:lnSpc>
              <a:defRPr sz="1000"/>
            </a:lvl5pPr>
            <a:lvl6pPr marL="0" indent="0">
              <a:lnSpc>
                <a:spcPct val="100000"/>
              </a:lnSpc>
              <a:defRPr sz="1000"/>
            </a:lvl6pPr>
            <a:lvl7pPr>
              <a:lnSpc>
                <a:spcPct val="100000"/>
              </a:lnSpc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4" y="2174472"/>
            <a:ext cx="9721273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 noProof="0"/>
              <a:t>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14DBE5AC-8367-4FA0-B639-942A0211AEF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1A2C43-DC40-4948-A13A-425DDC78D3F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6E40FF2-FFFD-41B2-ABEF-2650AB17DAE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76216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to-a-Page – White on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9721273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4" y="2402227"/>
            <a:ext cx="9721273" cy="4050962"/>
          </a:xfrm>
        </p:spPr>
        <p:txBody>
          <a:bodyPr lIns="73152" rIns="73152">
            <a:noAutofit/>
          </a:bodyPr>
          <a:lstStyle>
            <a:lvl1pPr>
              <a:lnSpc>
                <a:spcPct val="100000"/>
              </a:lnSpc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defRPr sz="1000"/>
            </a:lvl3pPr>
            <a:lvl4pPr marL="548640" indent="-182880">
              <a:lnSpc>
                <a:spcPct val="100000"/>
              </a:lnSpc>
              <a:defRPr sz="1000"/>
            </a:lvl4pPr>
            <a:lvl5pPr marL="731520" indent="-182880">
              <a:lnSpc>
                <a:spcPct val="100000"/>
              </a:lnSpc>
              <a:defRPr sz="1000"/>
            </a:lvl5pPr>
            <a:lvl6pPr marL="0" indent="0">
              <a:lnSpc>
                <a:spcPct val="100000"/>
              </a:lnSpc>
              <a:defRPr sz="1000"/>
            </a:lvl6pPr>
            <a:lvl7pPr>
              <a:lnSpc>
                <a:spcPct val="100000"/>
              </a:lnSpc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4" y="2159084"/>
            <a:ext cx="9721273" cy="243143"/>
          </a:xfr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73152" tIns="36576" rIns="73152" bIns="36576" rtlCol="0" anchor="b">
            <a:spAutoFit/>
          </a:bodyPr>
          <a:lstStyle>
            <a:lvl1pPr>
              <a:defRPr kumimoji="0" lang="en-US" sz="1100" u="none" strike="noStrike" cap="none" normalizeH="0" dirty="0">
                <a:ln>
                  <a:noFill/>
                </a:ln>
                <a:solidFill>
                  <a:srgbClr val="23283C"/>
                </a:solidFill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850B2328-39CD-474A-A7D3-4B97E34DDBC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8A2CBB-F46C-4F25-BE71-502B32F3117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4009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to-a-Page – Un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486064" y="1571557"/>
            <a:ext cx="9721273" cy="276999"/>
          </a:xfrm>
        </p:spPr>
        <p:txBody>
          <a:bodyPr/>
          <a:lstStyle>
            <a:lvl1pPr>
              <a:defRPr/>
            </a:lvl1pPr>
            <a:lvl2pPr marL="230400" indent="-228600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486064" y="2402227"/>
            <a:ext cx="4617720" cy="4050962"/>
          </a:xfrm>
        </p:spPr>
        <p:txBody>
          <a:bodyPr lIns="73152" rIns="73152">
            <a:noAutofit/>
          </a:bodyPr>
          <a:lstStyle>
            <a:lvl1pPr>
              <a:lnSpc>
                <a:spcPct val="100000"/>
              </a:lnSpc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defRPr sz="1000"/>
            </a:lvl3pPr>
            <a:lvl4pPr marL="548640" indent="-182880">
              <a:lnSpc>
                <a:spcPct val="100000"/>
              </a:lnSpc>
              <a:defRPr sz="1000"/>
            </a:lvl4pPr>
            <a:lvl5pPr marL="731520" indent="-182880">
              <a:lnSpc>
                <a:spcPct val="100000"/>
              </a:lnSpc>
              <a:defRPr sz="1000"/>
            </a:lvl5pPr>
            <a:lvl6pPr marL="0" indent="0">
              <a:lnSpc>
                <a:spcPct val="100000"/>
              </a:lnSpc>
              <a:defRPr sz="1000"/>
            </a:lvl6pPr>
            <a:lvl7pPr>
              <a:lnSpc>
                <a:spcPct val="100000"/>
              </a:lnSpc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4" y="1188943"/>
            <a:ext cx="9721273" cy="398186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6064" y="2174472"/>
            <a:ext cx="4617720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  <p:sp>
        <p:nvSpPr>
          <p:cNvPr id="4" name="Client Name/Presentation Title">
            <a:extLst>
              <a:ext uri="{FF2B5EF4-FFF2-40B4-BE49-F238E27FC236}">
                <a16:creationId xmlns:a16="http://schemas.microsoft.com/office/drawing/2014/main" id="{14DBE5AC-8367-4FA0-B639-942A0211AEF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5792" y="667170"/>
            <a:ext cx="4860636" cy="177912"/>
          </a:xfr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1A2C43-DC40-4948-A13A-425DDC78D3F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006FDB50-F434-5272-5882-14CF44EFEF1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589617" y="2402227"/>
            <a:ext cx="4617720" cy="4050962"/>
          </a:xfrm>
        </p:spPr>
        <p:txBody>
          <a:bodyPr lIns="73152" rIns="73152">
            <a:noAutofit/>
          </a:bodyPr>
          <a:lstStyle>
            <a:lvl1pPr>
              <a:lnSpc>
                <a:spcPct val="100000"/>
              </a:lnSpc>
              <a:defRPr sz="1000">
                <a:latin typeface="+mn-lt"/>
              </a:defRPr>
            </a:lvl1pPr>
            <a:lvl2pPr marL="182880" indent="-182880">
              <a:lnSpc>
                <a:spcPct val="100000"/>
              </a:lnSpc>
              <a:buFont typeface="Symbol" panose="05050102010706020507" pitchFamily="18" charset="2"/>
              <a:buChar char=""/>
              <a:defRPr sz="1000"/>
            </a:lvl2pPr>
            <a:lvl3pPr marL="365760" indent="-182880">
              <a:lnSpc>
                <a:spcPct val="100000"/>
              </a:lnSpc>
              <a:defRPr sz="1000"/>
            </a:lvl3pPr>
            <a:lvl4pPr marL="548640" indent="-182880">
              <a:lnSpc>
                <a:spcPct val="100000"/>
              </a:lnSpc>
              <a:defRPr sz="1000"/>
            </a:lvl4pPr>
            <a:lvl5pPr marL="731520" indent="-182880">
              <a:lnSpc>
                <a:spcPct val="100000"/>
              </a:lnSpc>
              <a:defRPr sz="1000"/>
            </a:lvl5pPr>
            <a:lvl6pPr marL="0" indent="0">
              <a:lnSpc>
                <a:spcPct val="100000"/>
              </a:lnSpc>
              <a:defRPr sz="1000"/>
            </a:lvl6pPr>
            <a:lvl7pPr>
              <a:lnSpc>
                <a:spcPct val="100000"/>
              </a:lnSpc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6B4C0B6-0864-74F3-9B64-F416C1104B66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5589617" y="2174472"/>
            <a:ext cx="4617720" cy="227755"/>
          </a:xfrm>
          <a:gradFill>
            <a:gsLst>
              <a:gs pos="0">
                <a:schemeClr val="bg1">
                  <a:alpha val="0"/>
                </a:schemeClr>
              </a:gs>
              <a:gs pos="95000">
                <a:schemeClr val="bg1">
                  <a:alpha val="0"/>
                </a:schemeClr>
              </a:gs>
              <a:gs pos="95000">
                <a:schemeClr val="tx1"/>
              </a:gs>
            </a:gsLst>
            <a:lin ang="5400000" scaled="0"/>
          </a:gradFill>
          <a:effectLst/>
        </p:spPr>
        <p:txBody>
          <a:bodyPr vert="horz" wrap="square" lIns="73152" tIns="36576" rIns="73152" bIns="36576" rtlCol="0" anchor="b">
            <a:noAutofit/>
          </a:bodyPr>
          <a:lstStyle>
            <a:lvl1pPr>
              <a:tabLst>
                <a:tab pos="4197096" algn="r"/>
                <a:tab pos="4617720" algn="r"/>
              </a:tabLst>
              <a:defRPr kumimoji="0" lang="en-US" sz="1100" u="none" strike="noStrike" cap="none" normalizeH="0" dirty="0">
                <a:ln>
                  <a:noFill/>
                </a:ln>
                <a:effectLst/>
              </a:defRPr>
            </a:lvl1pPr>
          </a:lstStyle>
          <a:p>
            <a:pPr marR="0" lvl="0" defTabSz="9588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4200525" algn="r"/>
              </a:tabLst>
            </a:pPr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820654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ags" Target="../tags/tag3.xml"/><Relationship Id="rId5" Type="http://schemas.openxmlformats.org/officeDocument/2006/relationships/theme" Target="../theme/theme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0A06CC5-36CA-F24E-8EDB-CE6DFFA439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82749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46" imgH="346" progId="TCLayout.ActiveDocument.1">
                  <p:embed/>
                </p:oleObj>
              </mc:Choice>
              <mc:Fallback>
                <p:oleObj name="think-cell Slide" r:id="rId27" imgW="346" imgH="34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A06CC5-36CA-F24E-8EDB-CE6DFFA439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6064" y="1188943"/>
            <a:ext cx="9721273" cy="398186"/>
          </a:xfrm>
          <a:prstGeom prst="rect">
            <a:avLst/>
          </a:prstGeom>
        </p:spPr>
        <p:txBody>
          <a:bodyPr vert="horz" lIns="0" tIns="0" rIns="0" bIns="91440" rtlCol="0" anchor="b" anchorCtr="0">
            <a:noAutofit/>
          </a:bodyPr>
          <a:lstStyle/>
          <a:p>
            <a:pPr lvl="0"/>
            <a:r>
              <a:rPr lang="en-US" noProof="0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6064" y="1571557"/>
            <a:ext cx="9721273" cy="276999"/>
          </a:xfrm>
          <a:prstGeom prst="rect">
            <a:avLst/>
          </a:prstGeom>
        </p:spPr>
        <p:txBody>
          <a:bodyPr vert="horz" lIns="0" tIns="76200" rIns="0" bIns="0" rtlCol="0">
            <a:noAutofit/>
          </a:bodyPr>
          <a:lstStyle/>
          <a:p>
            <a:pPr marL="0" lvl="0" indent="0" algn="l" defTabSz="1018824" rtl="0" eaLnBrk="1" latinLnBrk="0" hangingPunct="1">
              <a:spcBef>
                <a:spcPts val="1200"/>
              </a:spcBef>
              <a:buFontTx/>
              <a:buNone/>
            </a:pPr>
            <a:r>
              <a:rPr lang="en-GB" noProof="0"/>
              <a:t>Key Message</a:t>
            </a:r>
          </a:p>
          <a:p>
            <a:pPr lvl="1"/>
            <a:r>
              <a:rPr lang="en-GB" noProof="0"/>
              <a:t>Bullet 1 </a:t>
            </a:r>
          </a:p>
          <a:p>
            <a:pPr lvl="2"/>
            <a:r>
              <a:rPr lang="en-GB" noProof="0"/>
              <a:t>Bullet 2</a:t>
            </a:r>
          </a:p>
          <a:p>
            <a:pPr lvl="3"/>
            <a:r>
              <a:rPr lang="en-GB" noProof="0"/>
              <a:t>Bullet 3</a:t>
            </a:r>
          </a:p>
          <a:p>
            <a:pPr lvl="4"/>
            <a:r>
              <a:rPr lang="en-GB" noProof="0"/>
              <a:t>Bullet 4</a:t>
            </a:r>
          </a:p>
          <a:p>
            <a:pPr lvl="5"/>
            <a:r>
              <a:rPr lang="en-GB" noProof="0"/>
              <a:t>Normal Text</a:t>
            </a:r>
          </a:p>
          <a:p>
            <a:pPr lvl="6"/>
            <a:r>
              <a:rPr lang="en-GB" noProof="0"/>
              <a:t>Table Bullet 1</a:t>
            </a:r>
          </a:p>
          <a:p>
            <a:pPr lvl="7"/>
            <a:r>
              <a:rPr lang="en-GB" noProof="0"/>
              <a:t>Table Bullet 2</a:t>
            </a:r>
          </a:p>
          <a:p>
            <a:pPr lvl="8"/>
            <a:r>
              <a:rPr lang="en-GB" noProof="0"/>
              <a:t>Table Bullet 3</a:t>
            </a:r>
          </a:p>
          <a:p>
            <a:pPr lvl="8"/>
            <a:endParaRPr lang="en-GB" noProof="0"/>
          </a:p>
        </p:txBody>
      </p:sp>
      <p:sp>
        <p:nvSpPr>
          <p:cNvPr id="5" name="Client Name/Presentation Title"/>
          <p:cNvSpPr>
            <a:spLocks noGrp="1"/>
          </p:cNvSpPr>
          <p:nvPr>
            <p:ph type="ftr" sz="quarter" idx="3"/>
          </p:nvPr>
        </p:nvSpPr>
        <p:spPr>
          <a:xfrm>
            <a:off x="495792" y="667170"/>
            <a:ext cx="4860636" cy="177912"/>
          </a:xfrm>
          <a:prstGeom prst="rect">
            <a:avLst/>
          </a:prstGeom>
        </p:spPr>
        <p:txBody>
          <a:bodyPr vert="horz" lIns="0" tIns="0" rIns="0" bIns="27432" rtlCol="0" anchor="b" anchorCtr="0">
            <a:noAutofit/>
          </a:bodyPr>
          <a:lstStyle>
            <a:lvl1pPr>
              <a:defRPr lang="en-US" sz="900" b="0" i="0" cap="all" spc="200" baseline="0" smtClean="0"/>
            </a:lvl1pPr>
          </a:lstStyle>
          <a:p>
            <a:r>
              <a:rPr lang="en-US"/>
              <a:t>Lazard RHQ Governance Framework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526341" y="6983049"/>
            <a:ext cx="680995" cy="177912"/>
          </a:xfrm>
          <a:prstGeom prst="rect">
            <a:avLst/>
          </a:prstGeom>
        </p:spPr>
        <p:txBody>
          <a:bodyPr vert="horz" wrap="none" lIns="0" tIns="0" rIns="91440" bIns="0" rtlCol="0" anchor="ctr" anchorCtr="0"/>
          <a:lstStyle>
            <a:lvl1pPr algn="r">
              <a:defRPr lang="en-US" sz="1100" b="0" i="0" baseline="0" smtClean="0">
                <a:solidFill>
                  <a:schemeClr val="tx1"/>
                </a:solidFill>
                <a:latin typeface="+mn-lt"/>
              </a:defRPr>
            </a:lvl1pPr>
          </a:lstStyle>
          <a:p>
            <a:fld id="{56E40FF2-FFFD-41B2-ABEF-2650AB17DAE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Slide Number Line 2"/>
          <p:cNvSpPr>
            <a:spLocks noChangeShapeType="1"/>
          </p:cNvSpPr>
          <p:nvPr userDrawn="1"/>
        </p:nvSpPr>
        <p:spPr bwMode="gray">
          <a:xfrm>
            <a:off x="10207336" y="6983049"/>
            <a:ext cx="0" cy="1779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13" name="Straight Connector 12"/>
          <p:cNvCxnSpPr>
            <a:cxnSpLocks/>
          </p:cNvCxnSpPr>
          <p:nvPr userDrawn="1"/>
        </p:nvCxnSpPr>
        <p:spPr>
          <a:xfrm>
            <a:off x="486064" y="889560"/>
            <a:ext cx="972127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grpSp>
        <p:nvGrpSpPr>
          <p:cNvPr id="7" name="MainLogo">
            <a:extLst>
              <a:ext uri="{FF2B5EF4-FFF2-40B4-BE49-F238E27FC236}">
                <a16:creationId xmlns:a16="http://schemas.microsoft.com/office/drawing/2014/main" id="{39A53530-DBF3-8145-1AEF-256FFF6FBC4C}"/>
              </a:ext>
            </a:extLst>
          </p:cNvPr>
          <p:cNvGrpSpPr/>
          <p:nvPr userDrawn="1"/>
        </p:nvGrpSpPr>
        <p:grpSpPr>
          <a:xfrm>
            <a:off x="486664" y="6995460"/>
            <a:ext cx="801858" cy="150418"/>
            <a:chOff x="450851" y="7519507"/>
            <a:chExt cx="801858" cy="150418"/>
          </a:xfrm>
          <a:solidFill>
            <a:schemeClr val="tx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5C85917-91A8-62E7-0128-A95D0BBECC9B}"/>
                </a:ext>
              </a:extLst>
            </p:cNvPr>
            <p:cNvSpPr/>
            <p:nvPr/>
          </p:nvSpPr>
          <p:spPr>
            <a:xfrm>
              <a:off x="727769" y="7539586"/>
              <a:ext cx="105639" cy="130296"/>
            </a:xfrm>
            <a:custGeom>
              <a:avLst/>
              <a:gdLst>
                <a:gd name="connsiteX0" fmla="*/ 215400 w 221424"/>
                <a:gd name="connsiteY0" fmla="*/ 2422 h 273108"/>
                <a:gd name="connsiteX1" fmla="*/ 219003 w 221424"/>
                <a:gd name="connsiteY1" fmla="*/ 2422 h 273108"/>
                <a:gd name="connsiteX2" fmla="*/ 221425 w 221424"/>
                <a:gd name="connsiteY2" fmla="*/ 4845 h 273108"/>
                <a:gd name="connsiteX3" fmla="*/ 219608 w 221424"/>
                <a:gd name="connsiteY3" fmla="*/ 9053 h 273108"/>
                <a:gd name="connsiteX4" fmla="*/ 45750 w 221424"/>
                <a:gd name="connsiteY4" fmla="*/ 257485 h 273108"/>
                <a:gd name="connsiteX5" fmla="*/ 137796 w 221424"/>
                <a:gd name="connsiteY5" fmla="*/ 256880 h 273108"/>
                <a:gd name="connsiteX6" fmla="*/ 199746 w 221424"/>
                <a:gd name="connsiteY6" fmla="*/ 239440 h 273108"/>
                <a:gd name="connsiteX7" fmla="*/ 207558 w 221424"/>
                <a:gd name="connsiteY7" fmla="*/ 220183 h 273108"/>
                <a:gd name="connsiteX8" fmla="*/ 211161 w 221424"/>
                <a:gd name="connsiteY8" fmla="*/ 214157 h 273108"/>
                <a:gd name="connsiteX9" fmla="*/ 214764 w 221424"/>
                <a:gd name="connsiteY9" fmla="*/ 214157 h 273108"/>
                <a:gd name="connsiteX10" fmla="*/ 206346 w 221424"/>
                <a:gd name="connsiteY10" fmla="*/ 263480 h 273108"/>
                <a:gd name="connsiteX11" fmla="*/ 194326 w 221424"/>
                <a:gd name="connsiteY11" fmla="*/ 273109 h 273108"/>
                <a:gd name="connsiteX12" fmla="*/ 6025 w 221424"/>
                <a:gd name="connsiteY12" fmla="*/ 273109 h 273108"/>
                <a:gd name="connsiteX13" fmla="*/ 0 w 221424"/>
                <a:gd name="connsiteY13" fmla="*/ 268295 h 273108"/>
                <a:gd name="connsiteX14" fmla="*/ 5420 w 221424"/>
                <a:gd name="connsiteY14" fmla="*/ 258061 h 273108"/>
                <a:gd name="connsiteX15" fmla="*/ 141975 w 221424"/>
                <a:gd name="connsiteY15" fmla="*/ 78814 h 273108"/>
                <a:gd name="connsiteX16" fmla="*/ 182881 w 221424"/>
                <a:gd name="connsiteY16" fmla="*/ 21649 h 273108"/>
                <a:gd name="connsiteX17" fmla="*/ 186484 w 221424"/>
                <a:gd name="connsiteY17" fmla="*/ 16835 h 273108"/>
                <a:gd name="connsiteX18" fmla="*/ 89018 w 221424"/>
                <a:gd name="connsiteY18" fmla="*/ 17440 h 273108"/>
                <a:gd name="connsiteX19" fmla="*/ 60163 w 221424"/>
                <a:gd name="connsiteY19" fmla="*/ 19227 h 273108"/>
                <a:gd name="connsiteX20" fmla="*/ 42723 w 221424"/>
                <a:gd name="connsiteY20" fmla="*/ 24646 h 273108"/>
                <a:gd name="connsiteX21" fmla="*/ 20468 w 221424"/>
                <a:gd name="connsiteY21" fmla="*/ 52926 h 273108"/>
                <a:gd name="connsiteX22" fmla="*/ 16259 w 221424"/>
                <a:gd name="connsiteY22" fmla="*/ 59527 h 273108"/>
                <a:gd name="connsiteX23" fmla="*/ 13837 w 221424"/>
                <a:gd name="connsiteY23" fmla="*/ 54713 h 273108"/>
                <a:gd name="connsiteX24" fmla="*/ 21649 w 221424"/>
                <a:gd name="connsiteY24" fmla="*/ 7206 h 273108"/>
                <a:gd name="connsiteX25" fmla="*/ 25252 w 221424"/>
                <a:gd name="connsiteY25" fmla="*/ 0 h 273108"/>
                <a:gd name="connsiteX26" fmla="*/ 38484 w 221424"/>
                <a:gd name="connsiteY26" fmla="*/ 1817 h 273108"/>
                <a:gd name="connsiteX27" fmla="*/ 108850 w 221424"/>
                <a:gd name="connsiteY27" fmla="*/ 1817 h 273108"/>
                <a:gd name="connsiteX28" fmla="*/ 215339 w 221424"/>
                <a:gd name="connsiteY28" fmla="*/ 2422 h 273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21424" h="273108">
                  <a:moveTo>
                    <a:pt x="215400" y="2422"/>
                  </a:moveTo>
                  <a:lnTo>
                    <a:pt x="219003" y="2422"/>
                  </a:lnTo>
                  <a:cubicBezTo>
                    <a:pt x="220819" y="3028"/>
                    <a:pt x="221425" y="3633"/>
                    <a:pt x="221425" y="4845"/>
                  </a:cubicBezTo>
                  <a:cubicBezTo>
                    <a:pt x="221425" y="6661"/>
                    <a:pt x="221425" y="7267"/>
                    <a:pt x="219608" y="9053"/>
                  </a:cubicBezTo>
                  <a:cubicBezTo>
                    <a:pt x="162443" y="92076"/>
                    <a:pt x="105308" y="175068"/>
                    <a:pt x="45750" y="257485"/>
                  </a:cubicBezTo>
                  <a:lnTo>
                    <a:pt x="137796" y="256880"/>
                  </a:lnTo>
                  <a:cubicBezTo>
                    <a:pt x="178702" y="256880"/>
                    <a:pt x="191328" y="250249"/>
                    <a:pt x="199746" y="239440"/>
                  </a:cubicBezTo>
                  <a:cubicBezTo>
                    <a:pt x="203349" y="234625"/>
                    <a:pt x="206952" y="224997"/>
                    <a:pt x="207558" y="220183"/>
                  </a:cubicBezTo>
                  <a:cubicBezTo>
                    <a:pt x="208163" y="216580"/>
                    <a:pt x="211161" y="214157"/>
                    <a:pt x="211161" y="214157"/>
                  </a:cubicBezTo>
                  <a:lnTo>
                    <a:pt x="214764" y="214157"/>
                  </a:lnTo>
                  <a:cubicBezTo>
                    <a:pt x="214764" y="214157"/>
                    <a:pt x="208738" y="254458"/>
                    <a:pt x="206346" y="263480"/>
                  </a:cubicBezTo>
                  <a:cubicBezTo>
                    <a:pt x="203954" y="272503"/>
                    <a:pt x="203349" y="273109"/>
                    <a:pt x="194326" y="273109"/>
                  </a:cubicBezTo>
                  <a:lnTo>
                    <a:pt x="6025" y="273109"/>
                  </a:lnTo>
                  <a:cubicBezTo>
                    <a:pt x="1817" y="273109"/>
                    <a:pt x="0" y="270687"/>
                    <a:pt x="0" y="268295"/>
                  </a:cubicBezTo>
                  <a:cubicBezTo>
                    <a:pt x="0" y="266478"/>
                    <a:pt x="1211" y="264692"/>
                    <a:pt x="5420" y="258061"/>
                  </a:cubicBezTo>
                  <a:cubicBezTo>
                    <a:pt x="48718" y="198504"/>
                    <a:pt x="97435" y="138946"/>
                    <a:pt x="141975" y="78814"/>
                  </a:cubicBezTo>
                  <a:cubicBezTo>
                    <a:pt x="155812" y="60163"/>
                    <a:pt x="169649" y="40906"/>
                    <a:pt x="182881" y="21649"/>
                  </a:cubicBezTo>
                  <a:cubicBezTo>
                    <a:pt x="184092" y="19832"/>
                    <a:pt x="185303" y="18651"/>
                    <a:pt x="186484" y="16835"/>
                  </a:cubicBezTo>
                  <a:lnTo>
                    <a:pt x="89018" y="17440"/>
                  </a:lnTo>
                  <a:cubicBezTo>
                    <a:pt x="76998" y="17440"/>
                    <a:pt x="67975" y="18046"/>
                    <a:pt x="60163" y="19227"/>
                  </a:cubicBezTo>
                  <a:cubicBezTo>
                    <a:pt x="53532" y="20438"/>
                    <a:pt x="47537" y="22224"/>
                    <a:pt x="42723" y="24646"/>
                  </a:cubicBezTo>
                  <a:cubicBezTo>
                    <a:pt x="28885" y="31247"/>
                    <a:pt x="20468" y="52926"/>
                    <a:pt x="20468" y="52926"/>
                  </a:cubicBezTo>
                  <a:lnTo>
                    <a:pt x="16259" y="59527"/>
                  </a:lnTo>
                  <a:cubicBezTo>
                    <a:pt x="16259" y="59527"/>
                    <a:pt x="13837" y="57740"/>
                    <a:pt x="13837" y="54713"/>
                  </a:cubicBezTo>
                  <a:cubicBezTo>
                    <a:pt x="13837" y="50504"/>
                    <a:pt x="19257" y="18015"/>
                    <a:pt x="21649" y="7206"/>
                  </a:cubicBezTo>
                  <a:cubicBezTo>
                    <a:pt x="22255" y="1786"/>
                    <a:pt x="25252" y="0"/>
                    <a:pt x="25252" y="0"/>
                  </a:cubicBezTo>
                  <a:cubicBezTo>
                    <a:pt x="25252" y="0"/>
                    <a:pt x="27644" y="1817"/>
                    <a:pt x="38484" y="1817"/>
                  </a:cubicBezTo>
                  <a:lnTo>
                    <a:pt x="108850" y="1817"/>
                  </a:lnTo>
                  <a:lnTo>
                    <a:pt x="215339" y="2422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0A7CC832-9BB4-16DA-BCAB-5E16AEE13E3C}"/>
                </a:ext>
              </a:extLst>
            </p:cNvPr>
            <p:cNvSpPr/>
            <p:nvPr/>
          </p:nvSpPr>
          <p:spPr>
            <a:xfrm>
              <a:off x="579704" y="7536212"/>
              <a:ext cx="136306" cy="133685"/>
            </a:xfrm>
            <a:custGeom>
              <a:avLst/>
              <a:gdLst>
                <a:gd name="connsiteX0" fmla="*/ 266509 w 285705"/>
                <a:gd name="connsiteY0" fmla="*/ 272975 h 280211"/>
                <a:gd name="connsiteX1" fmla="*/ 235837 w 285705"/>
                <a:gd name="connsiteY1" fmla="*/ 234461 h 280211"/>
                <a:gd name="connsiteX2" fmla="*/ 138977 w 285705"/>
                <a:gd name="connsiteY2" fmla="*/ 1077 h 280211"/>
                <a:gd name="connsiteX3" fmla="*/ 136555 w 285705"/>
                <a:gd name="connsiteY3" fmla="*/ 2288 h 280211"/>
                <a:gd name="connsiteX4" fmla="*/ 45720 w 285705"/>
                <a:gd name="connsiteY4" fmla="*/ 239306 h 280211"/>
                <a:gd name="connsiteX5" fmla="*/ 14443 w 285705"/>
                <a:gd name="connsiteY5" fmla="*/ 274186 h 280211"/>
                <a:gd name="connsiteX6" fmla="*/ 0 w 285705"/>
                <a:gd name="connsiteY6" fmla="*/ 275397 h 280211"/>
                <a:gd name="connsiteX7" fmla="*/ 0 w 285705"/>
                <a:gd name="connsiteY7" fmla="*/ 277214 h 280211"/>
                <a:gd name="connsiteX8" fmla="*/ 7206 w 285705"/>
                <a:gd name="connsiteY8" fmla="*/ 280212 h 280211"/>
                <a:gd name="connsiteX9" fmla="*/ 78784 w 285705"/>
                <a:gd name="connsiteY9" fmla="*/ 280212 h 280211"/>
                <a:gd name="connsiteX10" fmla="*/ 84204 w 285705"/>
                <a:gd name="connsiteY10" fmla="*/ 277214 h 280211"/>
                <a:gd name="connsiteX11" fmla="*/ 84204 w 285705"/>
                <a:gd name="connsiteY11" fmla="*/ 276003 h 280211"/>
                <a:gd name="connsiteX12" fmla="*/ 76998 w 285705"/>
                <a:gd name="connsiteY12" fmla="*/ 275397 h 280211"/>
                <a:gd name="connsiteX13" fmla="*/ 62555 w 285705"/>
                <a:gd name="connsiteY13" fmla="*/ 264558 h 280211"/>
                <a:gd name="connsiteX14" fmla="*/ 67975 w 285705"/>
                <a:gd name="connsiteY14" fmla="*/ 239306 h 280211"/>
                <a:gd name="connsiteX15" fmla="*/ 92046 w 285705"/>
                <a:gd name="connsiteY15" fmla="*/ 169515 h 280211"/>
                <a:gd name="connsiteX16" fmla="*/ 176855 w 285705"/>
                <a:gd name="connsiteY16" fmla="*/ 170120 h 280211"/>
                <a:gd name="connsiteX17" fmla="*/ 212947 w 285705"/>
                <a:gd name="connsiteY17" fmla="*/ 264558 h 280211"/>
                <a:gd name="connsiteX18" fmla="*/ 210525 w 285705"/>
                <a:gd name="connsiteY18" fmla="*/ 274186 h 280211"/>
                <a:gd name="connsiteX19" fmla="*/ 208102 w 285705"/>
                <a:gd name="connsiteY19" fmla="*/ 277184 h 280211"/>
                <a:gd name="connsiteX20" fmla="*/ 218942 w 285705"/>
                <a:gd name="connsiteY20" fmla="*/ 280181 h 280211"/>
                <a:gd name="connsiteX21" fmla="*/ 277894 w 285705"/>
                <a:gd name="connsiteY21" fmla="*/ 280181 h 280211"/>
                <a:gd name="connsiteX22" fmla="*/ 285706 w 285705"/>
                <a:gd name="connsiteY22" fmla="*/ 277184 h 280211"/>
                <a:gd name="connsiteX23" fmla="*/ 285100 w 285705"/>
                <a:gd name="connsiteY23" fmla="*/ 275367 h 280211"/>
                <a:gd name="connsiteX24" fmla="*/ 266449 w 285705"/>
                <a:gd name="connsiteY24" fmla="*/ 272945 h 280211"/>
                <a:gd name="connsiteX25" fmla="*/ 95619 w 285705"/>
                <a:gd name="connsiteY25" fmla="*/ 156253 h 280211"/>
                <a:gd name="connsiteX26" fmla="*/ 133527 w 285705"/>
                <a:gd name="connsiteY26" fmla="*/ 47373 h 280211"/>
                <a:gd name="connsiteX27" fmla="*/ 172011 w 285705"/>
                <a:gd name="connsiteY27" fmla="*/ 156253 h 280211"/>
                <a:gd name="connsiteX28" fmla="*/ 95619 w 285705"/>
                <a:gd name="connsiteY28" fmla="*/ 156253 h 28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5705" h="280211">
                  <a:moveTo>
                    <a:pt x="266509" y="272975"/>
                  </a:moveTo>
                  <a:cubicBezTo>
                    <a:pt x="259303" y="270583"/>
                    <a:pt x="249069" y="265163"/>
                    <a:pt x="235837" y="234461"/>
                  </a:cubicBezTo>
                  <a:lnTo>
                    <a:pt x="138977" y="1077"/>
                  </a:lnTo>
                  <a:cubicBezTo>
                    <a:pt x="137766" y="-1920"/>
                    <a:pt x="136555" y="2288"/>
                    <a:pt x="136555" y="2288"/>
                  </a:cubicBezTo>
                  <a:lnTo>
                    <a:pt x="45720" y="239306"/>
                  </a:lnTo>
                  <a:cubicBezTo>
                    <a:pt x="39120" y="257957"/>
                    <a:pt x="31883" y="272400"/>
                    <a:pt x="14443" y="274186"/>
                  </a:cubicBezTo>
                  <a:cubicBezTo>
                    <a:pt x="11445" y="274792"/>
                    <a:pt x="0" y="275397"/>
                    <a:pt x="0" y="275397"/>
                  </a:cubicBezTo>
                  <a:lnTo>
                    <a:pt x="0" y="277214"/>
                  </a:lnTo>
                  <a:cubicBezTo>
                    <a:pt x="0" y="277214"/>
                    <a:pt x="2392" y="280212"/>
                    <a:pt x="7206" y="280212"/>
                  </a:cubicBezTo>
                  <a:lnTo>
                    <a:pt x="78784" y="280212"/>
                  </a:lnTo>
                  <a:cubicBezTo>
                    <a:pt x="82387" y="280212"/>
                    <a:pt x="84204" y="277214"/>
                    <a:pt x="84204" y="277214"/>
                  </a:cubicBezTo>
                  <a:lnTo>
                    <a:pt x="84204" y="276003"/>
                  </a:lnTo>
                  <a:lnTo>
                    <a:pt x="76998" y="275397"/>
                  </a:lnTo>
                  <a:cubicBezTo>
                    <a:pt x="70367" y="275397"/>
                    <a:pt x="62555" y="271794"/>
                    <a:pt x="62555" y="264558"/>
                  </a:cubicBezTo>
                  <a:cubicBezTo>
                    <a:pt x="62555" y="257321"/>
                    <a:pt x="64341" y="248329"/>
                    <a:pt x="67975" y="239306"/>
                  </a:cubicBezTo>
                  <a:lnTo>
                    <a:pt x="92046" y="169515"/>
                  </a:lnTo>
                  <a:lnTo>
                    <a:pt x="176855" y="170120"/>
                  </a:lnTo>
                  <a:lnTo>
                    <a:pt x="212947" y="264558"/>
                  </a:lnTo>
                  <a:cubicBezTo>
                    <a:pt x="215339" y="270583"/>
                    <a:pt x="212947" y="273581"/>
                    <a:pt x="210525" y="274186"/>
                  </a:cubicBezTo>
                  <a:cubicBezTo>
                    <a:pt x="209314" y="274792"/>
                    <a:pt x="208102" y="275397"/>
                    <a:pt x="208102" y="277184"/>
                  </a:cubicBezTo>
                  <a:cubicBezTo>
                    <a:pt x="208102" y="279576"/>
                    <a:pt x="211706" y="280181"/>
                    <a:pt x="218942" y="280181"/>
                  </a:cubicBezTo>
                  <a:lnTo>
                    <a:pt x="277894" y="280181"/>
                  </a:lnTo>
                  <a:cubicBezTo>
                    <a:pt x="282103" y="280181"/>
                    <a:pt x="285706" y="277184"/>
                    <a:pt x="285706" y="277184"/>
                  </a:cubicBezTo>
                  <a:lnTo>
                    <a:pt x="285100" y="275367"/>
                  </a:lnTo>
                  <a:cubicBezTo>
                    <a:pt x="285100" y="275367"/>
                    <a:pt x="272474" y="274762"/>
                    <a:pt x="266449" y="272945"/>
                  </a:cubicBezTo>
                  <a:moveTo>
                    <a:pt x="95619" y="156253"/>
                  </a:moveTo>
                  <a:lnTo>
                    <a:pt x="133527" y="47373"/>
                  </a:lnTo>
                  <a:lnTo>
                    <a:pt x="172011" y="156253"/>
                  </a:lnTo>
                  <a:lnTo>
                    <a:pt x="95619" y="156253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7624653-9E35-AC8B-6CA3-3F1D243765F9}"/>
                </a:ext>
              </a:extLst>
            </p:cNvPr>
            <p:cNvSpPr/>
            <p:nvPr/>
          </p:nvSpPr>
          <p:spPr>
            <a:xfrm>
              <a:off x="840573" y="7536212"/>
              <a:ext cx="136032" cy="133685"/>
            </a:xfrm>
            <a:custGeom>
              <a:avLst/>
              <a:gdLst>
                <a:gd name="connsiteX0" fmla="*/ 266509 w 285130"/>
                <a:gd name="connsiteY0" fmla="*/ 272975 h 280211"/>
                <a:gd name="connsiteX1" fmla="*/ 235837 w 285130"/>
                <a:gd name="connsiteY1" fmla="*/ 234461 h 280211"/>
                <a:gd name="connsiteX2" fmla="*/ 138977 w 285130"/>
                <a:gd name="connsiteY2" fmla="*/ 1077 h 280211"/>
                <a:gd name="connsiteX3" fmla="*/ 136555 w 285130"/>
                <a:gd name="connsiteY3" fmla="*/ 2288 h 280211"/>
                <a:gd name="connsiteX4" fmla="*/ 45720 w 285130"/>
                <a:gd name="connsiteY4" fmla="*/ 239306 h 280211"/>
                <a:gd name="connsiteX5" fmla="*/ 14443 w 285130"/>
                <a:gd name="connsiteY5" fmla="*/ 274186 h 280211"/>
                <a:gd name="connsiteX6" fmla="*/ 0 w 285130"/>
                <a:gd name="connsiteY6" fmla="*/ 275397 h 280211"/>
                <a:gd name="connsiteX7" fmla="*/ 0 w 285130"/>
                <a:gd name="connsiteY7" fmla="*/ 277214 h 280211"/>
                <a:gd name="connsiteX8" fmla="*/ 7206 w 285130"/>
                <a:gd name="connsiteY8" fmla="*/ 280212 h 280211"/>
                <a:gd name="connsiteX9" fmla="*/ 78784 w 285130"/>
                <a:gd name="connsiteY9" fmla="*/ 280212 h 280211"/>
                <a:gd name="connsiteX10" fmla="*/ 84204 w 285130"/>
                <a:gd name="connsiteY10" fmla="*/ 277214 h 280211"/>
                <a:gd name="connsiteX11" fmla="*/ 84204 w 285130"/>
                <a:gd name="connsiteY11" fmla="*/ 276003 h 280211"/>
                <a:gd name="connsiteX12" fmla="*/ 76998 w 285130"/>
                <a:gd name="connsiteY12" fmla="*/ 275397 h 280211"/>
                <a:gd name="connsiteX13" fmla="*/ 62555 w 285130"/>
                <a:gd name="connsiteY13" fmla="*/ 264558 h 280211"/>
                <a:gd name="connsiteX14" fmla="*/ 67975 w 285130"/>
                <a:gd name="connsiteY14" fmla="*/ 239306 h 280211"/>
                <a:gd name="connsiteX15" fmla="*/ 92046 w 285130"/>
                <a:gd name="connsiteY15" fmla="*/ 169515 h 280211"/>
                <a:gd name="connsiteX16" fmla="*/ 176855 w 285130"/>
                <a:gd name="connsiteY16" fmla="*/ 170120 h 280211"/>
                <a:gd name="connsiteX17" fmla="*/ 212947 w 285130"/>
                <a:gd name="connsiteY17" fmla="*/ 264558 h 280211"/>
                <a:gd name="connsiteX18" fmla="*/ 210525 w 285130"/>
                <a:gd name="connsiteY18" fmla="*/ 274186 h 280211"/>
                <a:gd name="connsiteX19" fmla="*/ 208133 w 285130"/>
                <a:gd name="connsiteY19" fmla="*/ 277184 h 280211"/>
                <a:gd name="connsiteX20" fmla="*/ 218972 w 285130"/>
                <a:gd name="connsiteY20" fmla="*/ 280181 h 280211"/>
                <a:gd name="connsiteX21" fmla="*/ 277924 w 285130"/>
                <a:gd name="connsiteY21" fmla="*/ 280181 h 280211"/>
                <a:gd name="connsiteX22" fmla="*/ 285130 w 285130"/>
                <a:gd name="connsiteY22" fmla="*/ 277184 h 280211"/>
                <a:gd name="connsiteX23" fmla="*/ 285130 w 285130"/>
                <a:gd name="connsiteY23" fmla="*/ 275367 h 280211"/>
                <a:gd name="connsiteX24" fmla="*/ 266479 w 285130"/>
                <a:gd name="connsiteY24" fmla="*/ 272945 h 280211"/>
                <a:gd name="connsiteX25" fmla="*/ 95649 w 285130"/>
                <a:gd name="connsiteY25" fmla="*/ 156253 h 280211"/>
                <a:gd name="connsiteX26" fmla="*/ 133557 w 285130"/>
                <a:gd name="connsiteY26" fmla="*/ 47373 h 280211"/>
                <a:gd name="connsiteX27" fmla="*/ 172041 w 285130"/>
                <a:gd name="connsiteY27" fmla="*/ 156253 h 280211"/>
                <a:gd name="connsiteX28" fmla="*/ 95649 w 285130"/>
                <a:gd name="connsiteY28" fmla="*/ 156253 h 28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5130" h="280211">
                  <a:moveTo>
                    <a:pt x="266509" y="272975"/>
                  </a:moveTo>
                  <a:cubicBezTo>
                    <a:pt x="259303" y="270583"/>
                    <a:pt x="248463" y="265163"/>
                    <a:pt x="235837" y="234461"/>
                  </a:cubicBezTo>
                  <a:lnTo>
                    <a:pt x="138977" y="1077"/>
                  </a:lnTo>
                  <a:cubicBezTo>
                    <a:pt x="137766" y="-1920"/>
                    <a:pt x="136555" y="2288"/>
                    <a:pt x="136555" y="2288"/>
                  </a:cubicBezTo>
                  <a:lnTo>
                    <a:pt x="45720" y="239306"/>
                  </a:lnTo>
                  <a:cubicBezTo>
                    <a:pt x="39119" y="257957"/>
                    <a:pt x="31277" y="272400"/>
                    <a:pt x="14443" y="274186"/>
                  </a:cubicBezTo>
                  <a:cubicBezTo>
                    <a:pt x="11445" y="274792"/>
                    <a:pt x="0" y="275397"/>
                    <a:pt x="0" y="275397"/>
                  </a:cubicBezTo>
                  <a:lnTo>
                    <a:pt x="0" y="277214"/>
                  </a:lnTo>
                  <a:cubicBezTo>
                    <a:pt x="0" y="277214"/>
                    <a:pt x="2422" y="280212"/>
                    <a:pt x="7206" y="280212"/>
                  </a:cubicBezTo>
                  <a:lnTo>
                    <a:pt x="78784" y="280212"/>
                  </a:lnTo>
                  <a:cubicBezTo>
                    <a:pt x="82387" y="280212"/>
                    <a:pt x="84204" y="277214"/>
                    <a:pt x="84204" y="277214"/>
                  </a:cubicBezTo>
                  <a:lnTo>
                    <a:pt x="84204" y="276003"/>
                  </a:lnTo>
                  <a:lnTo>
                    <a:pt x="76998" y="275397"/>
                  </a:lnTo>
                  <a:cubicBezTo>
                    <a:pt x="70367" y="275397"/>
                    <a:pt x="62555" y="271794"/>
                    <a:pt x="62555" y="264558"/>
                  </a:cubicBezTo>
                  <a:cubicBezTo>
                    <a:pt x="62555" y="257321"/>
                    <a:pt x="64341" y="248329"/>
                    <a:pt x="67975" y="239306"/>
                  </a:cubicBezTo>
                  <a:lnTo>
                    <a:pt x="92046" y="169515"/>
                  </a:lnTo>
                  <a:lnTo>
                    <a:pt x="176855" y="170120"/>
                  </a:lnTo>
                  <a:lnTo>
                    <a:pt x="212947" y="264558"/>
                  </a:lnTo>
                  <a:cubicBezTo>
                    <a:pt x="214733" y="270583"/>
                    <a:pt x="212947" y="273581"/>
                    <a:pt x="210525" y="274186"/>
                  </a:cubicBezTo>
                  <a:cubicBezTo>
                    <a:pt x="208708" y="274792"/>
                    <a:pt x="208133" y="275397"/>
                    <a:pt x="208133" y="277184"/>
                  </a:cubicBezTo>
                  <a:cubicBezTo>
                    <a:pt x="208133" y="279576"/>
                    <a:pt x="211736" y="280181"/>
                    <a:pt x="218972" y="280181"/>
                  </a:cubicBezTo>
                  <a:lnTo>
                    <a:pt x="277924" y="280181"/>
                  </a:lnTo>
                  <a:cubicBezTo>
                    <a:pt x="282133" y="280181"/>
                    <a:pt x="285130" y="277184"/>
                    <a:pt x="285130" y="277184"/>
                  </a:cubicBezTo>
                  <a:lnTo>
                    <a:pt x="285130" y="275367"/>
                  </a:lnTo>
                  <a:cubicBezTo>
                    <a:pt x="285130" y="275367"/>
                    <a:pt x="272504" y="274762"/>
                    <a:pt x="266479" y="272945"/>
                  </a:cubicBezTo>
                  <a:moveTo>
                    <a:pt x="95649" y="156253"/>
                  </a:moveTo>
                  <a:lnTo>
                    <a:pt x="133557" y="47373"/>
                  </a:lnTo>
                  <a:lnTo>
                    <a:pt x="172041" y="156253"/>
                  </a:lnTo>
                  <a:lnTo>
                    <a:pt x="95649" y="156253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F906DBE-1476-78BE-0B7D-27C9CC23295E}"/>
                </a:ext>
              </a:extLst>
            </p:cNvPr>
            <p:cNvSpPr/>
            <p:nvPr/>
          </p:nvSpPr>
          <p:spPr>
            <a:xfrm>
              <a:off x="450851" y="7519507"/>
              <a:ext cx="118813" cy="150376"/>
            </a:xfrm>
            <a:custGeom>
              <a:avLst/>
              <a:gdLst>
                <a:gd name="connsiteX0" fmla="*/ 7812 w 249038"/>
                <a:gd name="connsiteY0" fmla="*/ 315196 h 315195"/>
                <a:gd name="connsiteX1" fmla="*/ 2392 w 249038"/>
                <a:gd name="connsiteY1" fmla="*/ 311592 h 315195"/>
                <a:gd name="connsiteX2" fmla="*/ 2392 w 249038"/>
                <a:gd name="connsiteY2" fmla="*/ 309776 h 315195"/>
                <a:gd name="connsiteX3" fmla="*/ 16229 w 249038"/>
                <a:gd name="connsiteY3" fmla="*/ 307989 h 315195"/>
                <a:gd name="connsiteX4" fmla="*/ 30066 w 249038"/>
                <a:gd name="connsiteY4" fmla="*/ 287552 h 315195"/>
                <a:gd name="connsiteX5" fmla="*/ 31853 w 249038"/>
                <a:gd name="connsiteY5" fmla="*/ 208738 h 315195"/>
                <a:gd name="connsiteX6" fmla="*/ 31853 w 249038"/>
                <a:gd name="connsiteY6" fmla="*/ 144366 h 315195"/>
                <a:gd name="connsiteX7" fmla="*/ 30642 w 249038"/>
                <a:gd name="connsiteY7" fmla="*/ 27069 h 315195"/>
                <a:gd name="connsiteX8" fmla="*/ 15018 w 249038"/>
                <a:gd name="connsiteY8" fmla="*/ 6601 h 315195"/>
                <a:gd name="connsiteX9" fmla="*/ 2998 w 249038"/>
                <a:gd name="connsiteY9" fmla="*/ 5390 h 315195"/>
                <a:gd name="connsiteX10" fmla="*/ 0 w 249038"/>
                <a:gd name="connsiteY10" fmla="*/ 3603 h 315195"/>
                <a:gd name="connsiteX11" fmla="*/ 606 w 249038"/>
                <a:gd name="connsiteY11" fmla="*/ 0 h 315195"/>
                <a:gd name="connsiteX12" fmla="*/ 49323 w 249038"/>
                <a:gd name="connsiteY12" fmla="*/ 1786 h 315195"/>
                <a:gd name="connsiteX13" fmla="*/ 93832 w 249038"/>
                <a:gd name="connsiteY13" fmla="*/ 0 h 315195"/>
                <a:gd name="connsiteX14" fmla="*/ 93832 w 249038"/>
                <a:gd name="connsiteY14" fmla="*/ 3603 h 315195"/>
                <a:gd name="connsiteX15" fmla="*/ 91440 w 249038"/>
                <a:gd name="connsiteY15" fmla="*/ 5390 h 315195"/>
                <a:gd name="connsiteX16" fmla="*/ 79420 w 249038"/>
                <a:gd name="connsiteY16" fmla="*/ 6601 h 315195"/>
                <a:gd name="connsiteX17" fmla="*/ 64977 w 249038"/>
                <a:gd name="connsiteY17" fmla="*/ 27069 h 315195"/>
                <a:gd name="connsiteX18" fmla="*/ 64372 w 249038"/>
                <a:gd name="connsiteY18" fmla="*/ 144366 h 315195"/>
                <a:gd name="connsiteX19" fmla="*/ 64372 w 249038"/>
                <a:gd name="connsiteY19" fmla="*/ 209343 h 315195"/>
                <a:gd name="connsiteX20" fmla="*/ 72183 w 249038"/>
                <a:gd name="connsiteY20" fmla="*/ 289944 h 315195"/>
                <a:gd name="connsiteX21" fmla="*/ 161232 w 249038"/>
                <a:gd name="connsiteY21" fmla="*/ 299572 h 315195"/>
                <a:gd name="connsiteX22" fmla="*/ 174463 w 249038"/>
                <a:gd name="connsiteY22" fmla="*/ 299572 h 315195"/>
                <a:gd name="connsiteX23" fmla="*/ 233415 w 249038"/>
                <a:gd name="connsiteY23" fmla="*/ 281526 h 315195"/>
                <a:gd name="connsiteX24" fmla="*/ 241227 w 249038"/>
                <a:gd name="connsiteY24" fmla="*/ 262269 h 315195"/>
                <a:gd name="connsiteX25" fmla="*/ 244830 w 249038"/>
                <a:gd name="connsiteY25" fmla="*/ 256850 h 315195"/>
                <a:gd name="connsiteX26" fmla="*/ 249039 w 249038"/>
                <a:gd name="connsiteY26" fmla="*/ 256850 h 315195"/>
                <a:gd name="connsiteX27" fmla="*/ 240016 w 249038"/>
                <a:gd name="connsiteY27" fmla="*/ 306173 h 315195"/>
                <a:gd name="connsiteX28" fmla="*/ 228601 w 249038"/>
                <a:gd name="connsiteY28" fmla="*/ 315196 h 315195"/>
                <a:gd name="connsiteX29" fmla="*/ 7812 w 249038"/>
                <a:gd name="connsiteY29" fmla="*/ 315196 h 31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49038" h="315195">
                  <a:moveTo>
                    <a:pt x="7812" y="315196"/>
                  </a:moveTo>
                  <a:cubicBezTo>
                    <a:pt x="4209" y="315196"/>
                    <a:pt x="2392" y="311592"/>
                    <a:pt x="2392" y="311592"/>
                  </a:cubicBezTo>
                  <a:lnTo>
                    <a:pt x="2392" y="309776"/>
                  </a:lnTo>
                  <a:cubicBezTo>
                    <a:pt x="2392" y="309776"/>
                    <a:pt x="12626" y="308565"/>
                    <a:pt x="16229" y="307989"/>
                  </a:cubicBezTo>
                  <a:cubicBezTo>
                    <a:pt x="23435" y="306173"/>
                    <a:pt x="28250" y="297755"/>
                    <a:pt x="30066" y="287552"/>
                  </a:cubicBezTo>
                  <a:cubicBezTo>
                    <a:pt x="31853" y="271898"/>
                    <a:pt x="31853" y="243648"/>
                    <a:pt x="31853" y="208738"/>
                  </a:cubicBezTo>
                  <a:lnTo>
                    <a:pt x="31853" y="144366"/>
                  </a:lnTo>
                  <a:cubicBezTo>
                    <a:pt x="31853" y="87837"/>
                    <a:pt x="31853" y="39089"/>
                    <a:pt x="30642" y="27069"/>
                  </a:cubicBezTo>
                  <a:cubicBezTo>
                    <a:pt x="30036" y="15048"/>
                    <a:pt x="27038" y="9023"/>
                    <a:pt x="15018" y="6601"/>
                  </a:cubicBezTo>
                  <a:cubicBezTo>
                    <a:pt x="12626" y="5995"/>
                    <a:pt x="2998" y="5390"/>
                    <a:pt x="2998" y="5390"/>
                  </a:cubicBezTo>
                  <a:lnTo>
                    <a:pt x="0" y="3603"/>
                  </a:lnTo>
                  <a:lnTo>
                    <a:pt x="606" y="0"/>
                  </a:lnTo>
                  <a:cubicBezTo>
                    <a:pt x="606" y="0"/>
                    <a:pt x="47537" y="1786"/>
                    <a:pt x="49323" y="1786"/>
                  </a:cubicBezTo>
                  <a:cubicBezTo>
                    <a:pt x="51110" y="1786"/>
                    <a:pt x="93832" y="0"/>
                    <a:pt x="93832" y="0"/>
                  </a:cubicBezTo>
                  <a:lnTo>
                    <a:pt x="93832" y="3603"/>
                  </a:lnTo>
                  <a:lnTo>
                    <a:pt x="91440" y="5390"/>
                  </a:lnTo>
                  <a:cubicBezTo>
                    <a:pt x="91440" y="5390"/>
                    <a:pt x="83629" y="5995"/>
                    <a:pt x="79420" y="6601"/>
                  </a:cubicBezTo>
                  <a:cubicBezTo>
                    <a:pt x="68580" y="8417"/>
                    <a:pt x="65583" y="14412"/>
                    <a:pt x="64977" y="27069"/>
                  </a:cubicBezTo>
                  <a:cubicBezTo>
                    <a:pt x="64372" y="39089"/>
                    <a:pt x="64372" y="87837"/>
                    <a:pt x="64372" y="144366"/>
                  </a:cubicBezTo>
                  <a:lnTo>
                    <a:pt x="64372" y="209343"/>
                  </a:lnTo>
                  <a:cubicBezTo>
                    <a:pt x="64372" y="262875"/>
                    <a:pt x="66158" y="282737"/>
                    <a:pt x="72183" y="289944"/>
                  </a:cubicBezTo>
                  <a:cubicBezTo>
                    <a:pt x="78814" y="297150"/>
                    <a:pt x="119720" y="298966"/>
                    <a:pt x="161232" y="299572"/>
                  </a:cubicBezTo>
                  <a:lnTo>
                    <a:pt x="174463" y="299572"/>
                  </a:lnTo>
                  <a:cubicBezTo>
                    <a:pt x="215975" y="299572"/>
                    <a:pt x="225603" y="292366"/>
                    <a:pt x="233415" y="281526"/>
                  </a:cubicBezTo>
                  <a:cubicBezTo>
                    <a:pt x="237018" y="277318"/>
                    <a:pt x="240621" y="267689"/>
                    <a:pt x="241227" y="262269"/>
                  </a:cubicBezTo>
                  <a:cubicBezTo>
                    <a:pt x="242438" y="258666"/>
                    <a:pt x="244830" y="256850"/>
                    <a:pt x="244830" y="256850"/>
                  </a:cubicBezTo>
                  <a:lnTo>
                    <a:pt x="249039" y="256850"/>
                  </a:lnTo>
                  <a:cubicBezTo>
                    <a:pt x="249039" y="256850"/>
                    <a:pt x="242408" y="297150"/>
                    <a:pt x="240016" y="306173"/>
                  </a:cubicBezTo>
                  <a:cubicBezTo>
                    <a:pt x="238199" y="314620"/>
                    <a:pt x="237594" y="315196"/>
                    <a:pt x="228601" y="315196"/>
                  </a:cubicBezTo>
                  <a:lnTo>
                    <a:pt x="7812" y="315196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9B27264-F22E-CCA7-E75F-46CC9D6F61DC}"/>
                </a:ext>
              </a:extLst>
            </p:cNvPr>
            <p:cNvSpPr/>
            <p:nvPr/>
          </p:nvSpPr>
          <p:spPr>
            <a:xfrm>
              <a:off x="986082" y="7540467"/>
              <a:ext cx="135151" cy="129444"/>
            </a:xfrm>
            <a:custGeom>
              <a:avLst/>
              <a:gdLst>
                <a:gd name="connsiteX0" fmla="*/ 265904 w 283283"/>
                <a:gd name="connsiteY0" fmla="*/ 265267 h 271322"/>
                <a:gd name="connsiteX1" fmla="*/ 222000 w 283283"/>
                <a:gd name="connsiteY1" fmla="*/ 239409 h 271322"/>
                <a:gd name="connsiteX2" fmla="*/ 147395 w 283283"/>
                <a:gd name="connsiteY2" fmla="*/ 147364 h 271322"/>
                <a:gd name="connsiteX3" fmla="*/ 191298 w 283283"/>
                <a:gd name="connsiteY3" fmla="*/ 64341 h 271322"/>
                <a:gd name="connsiteX4" fmla="*/ 166046 w 283283"/>
                <a:gd name="connsiteY4" fmla="*/ 15624 h 271322"/>
                <a:gd name="connsiteX5" fmla="*/ 88443 w 283283"/>
                <a:gd name="connsiteY5" fmla="*/ 0 h 271322"/>
                <a:gd name="connsiteX6" fmla="*/ 46326 w 283283"/>
                <a:gd name="connsiteY6" fmla="*/ 606 h 271322"/>
                <a:gd name="connsiteX7" fmla="*/ 0 w 283283"/>
                <a:gd name="connsiteY7" fmla="*/ 0 h 271322"/>
                <a:gd name="connsiteX8" fmla="*/ 0 w 283283"/>
                <a:gd name="connsiteY8" fmla="*/ 2392 h 271322"/>
                <a:gd name="connsiteX9" fmla="*/ 2998 w 283283"/>
                <a:gd name="connsiteY9" fmla="*/ 4814 h 271322"/>
                <a:gd name="connsiteX10" fmla="*/ 15018 w 283283"/>
                <a:gd name="connsiteY10" fmla="*/ 6025 h 271322"/>
                <a:gd name="connsiteX11" fmla="*/ 30642 w 283283"/>
                <a:gd name="connsiteY11" fmla="*/ 26463 h 271322"/>
                <a:gd name="connsiteX12" fmla="*/ 31247 w 283283"/>
                <a:gd name="connsiteY12" fmla="*/ 104066 h 271322"/>
                <a:gd name="connsiteX13" fmla="*/ 31247 w 283283"/>
                <a:gd name="connsiteY13" fmla="*/ 167226 h 271322"/>
                <a:gd name="connsiteX14" fmla="*/ 29430 w 283283"/>
                <a:gd name="connsiteY14" fmla="*/ 245435 h 271322"/>
                <a:gd name="connsiteX15" fmla="*/ 18591 w 283283"/>
                <a:gd name="connsiteY15" fmla="*/ 265297 h 271322"/>
                <a:gd name="connsiteX16" fmla="*/ 5359 w 283283"/>
                <a:gd name="connsiteY16" fmla="*/ 266508 h 271322"/>
                <a:gd name="connsiteX17" fmla="*/ 5359 w 283283"/>
                <a:gd name="connsiteY17" fmla="*/ 268900 h 271322"/>
                <a:gd name="connsiteX18" fmla="*/ 10779 w 283283"/>
                <a:gd name="connsiteY18" fmla="*/ 271322 h 271322"/>
                <a:gd name="connsiteX19" fmla="*/ 88988 w 283283"/>
                <a:gd name="connsiteY19" fmla="*/ 271322 h 271322"/>
                <a:gd name="connsiteX20" fmla="*/ 94408 w 283283"/>
                <a:gd name="connsiteY20" fmla="*/ 268900 h 271322"/>
                <a:gd name="connsiteX21" fmla="*/ 93802 w 283283"/>
                <a:gd name="connsiteY21" fmla="*/ 266508 h 271322"/>
                <a:gd name="connsiteX22" fmla="*/ 75756 w 283283"/>
                <a:gd name="connsiteY22" fmla="*/ 265297 h 271322"/>
                <a:gd name="connsiteX23" fmla="*/ 61313 w 283283"/>
                <a:gd name="connsiteY23" fmla="*/ 245435 h 271322"/>
                <a:gd name="connsiteX24" fmla="*/ 60102 w 283283"/>
                <a:gd name="connsiteY24" fmla="*/ 167226 h 271322"/>
                <a:gd name="connsiteX25" fmla="*/ 60102 w 283283"/>
                <a:gd name="connsiteY25" fmla="*/ 158809 h 271322"/>
                <a:gd name="connsiteX26" fmla="*/ 62525 w 283283"/>
                <a:gd name="connsiteY26" fmla="*/ 155811 h 271322"/>
                <a:gd name="connsiteX27" fmla="*/ 118449 w 283283"/>
                <a:gd name="connsiteY27" fmla="*/ 156417 h 271322"/>
                <a:gd name="connsiteX28" fmla="*/ 123263 w 283283"/>
                <a:gd name="connsiteY28" fmla="*/ 158839 h 271322"/>
                <a:gd name="connsiteX29" fmla="*/ 162382 w 283283"/>
                <a:gd name="connsiteY29" fmla="*/ 211765 h 271322"/>
                <a:gd name="connsiteX30" fmla="*/ 210495 w 283283"/>
                <a:gd name="connsiteY30" fmla="*/ 264692 h 271322"/>
                <a:gd name="connsiteX31" fmla="*/ 249009 w 283283"/>
                <a:gd name="connsiteY31" fmla="*/ 271322 h 271322"/>
                <a:gd name="connsiteX32" fmla="*/ 274866 w 283283"/>
                <a:gd name="connsiteY32" fmla="*/ 271322 h 271322"/>
                <a:gd name="connsiteX33" fmla="*/ 283283 w 283283"/>
                <a:gd name="connsiteY33" fmla="*/ 268900 h 271322"/>
                <a:gd name="connsiteX34" fmla="*/ 281467 w 283283"/>
                <a:gd name="connsiteY34" fmla="*/ 266508 h 271322"/>
                <a:gd name="connsiteX35" fmla="*/ 265843 w 283283"/>
                <a:gd name="connsiteY35" fmla="*/ 265297 h 271322"/>
                <a:gd name="connsiteX36" fmla="*/ 138917 w 283283"/>
                <a:gd name="connsiteY36" fmla="*/ 138371 h 271322"/>
                <a:gd name="connsiteX37" fmla="*/ 99827 w 283283"/>
                <a:gd name="connsiteY37" fmla="*/ 145577 h 271322"/>
                <a:gd name="connsiteX38" fmla="*/ 62525 w 283283"/>
                <a:gd name="connsiteY38" fmla="*/ 139552 h 271322"/>
                <a:gd name="connsiteX39" fmla="*/ 60102 w 283283"/>
                <a:gd name="connsiteY39" fmla="*/ 135343 h 271322"/>
                <a:gd name="connsiteX40" fmla="*/ 60102 w 283283"/>
                <a:gd name="connsiteY40" fmla="*/ 17410 h 271322"/>
                <a:gd name="connsiteX41" fmla="*/ 62525 w 283283"/>
                <a:gd name="connsiteY41" fmla="*/ 13201 h 271322"/>
                <a:gd name="connsiteX42" fmla="*/ 86596 w 283283"/>
                <a:gd name="connsiteY42" fmla="*/ 11385 h 271322"/>
                <a:gd name="connsiteX43" fmla="*/ 160596 w 283283"/>
                <a:gd name="connsiteY43" fmla="*/ 82962 h 271322"/>
                <a:gd name="connsiteX44" fmla="*/ 138947 w 283283"/>
                <a:gd name="connsiteY44" fmla="*/ 138311 h 27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83283" h="271322">
                  <a:moveTo>
                    <a:pt x="265904" y="265267"/>
                  </a:moveTo>
                  <a:cubicBezTo>
                    <a:pt x="256881" y="264056"/>
                    <a:pt x="241833" y="259847"/>
                    <a:pt x="222000" y="239409"/>
                  </a:cubicBezTo>
                  <a:cubicBezTo>
                    <a:pt x="201562" y="217155"/>
                    <a:pt x="176886" y="185272"/>
                    <a:pt x="147395" y="147364"/>
                  </a:cubicBezTo>
                  <a:cubicBezTo>
                    <a:pt x="179883" y="117873"/>
                    <a:pt x="191298" y="90834"/>
                    <a:pt x="191298" y="64341"/>
                  </a:cubicBezTo>
                  <a:cubicBezTo>
                    <a:pt x="191298" y="39664"/>
                    <a:pt x="175039" y="22224"/>
                    <a:pt x="166046" y="15624"/>
                  </a:cubicBezTo>
                  <a:cubicBezTo>
                    <a:pt x="147395" y="1786"/>
                    <a:pt x="111303" y="0"/>
                    <a:pt x="88443" y="0"/>
                  </a:cubicBezTo>
                  <a:cubicBezTo>
                    <a:pt x="77603" y="0"/>
                    <a:pt x="49929" y="606"/>
                    <a:pt x="46326" y="606"/>
                  </a:cubicBezTo>
                  <a:cubicBezTo>
                    <a:pt x="44539" y="606"/>
                    <a:pt x="0" y="0"/>
                    <a:pt x="0" y="0"/>
                  </a:cubicBezTo>
                  <a:lnTo>
                    <a:pt x="0" y="2392"/>
                  </a:lnTo>
                  <a:cubicBezTo>
                    <a:pt x="0" y="2392"/>
                    <a:pt x="1211" y="4814"/>
                    <a:pt x="2998" y="4814"/>
                  </a:cubicBezTo>
                  <a:cubicBezTo>
                    <a:pt x="5995" y="4814"/>
                    <a:pt x="12020" y="5420"/>
                    <a:pt x="15018" y="6025"/>
                  </a:cubicBezTo>
                  <a:cubicBezTo>
                    <a:pt x="27039" y="8448"/>
                    <a:pt x="29461" y="13837"/>
                    <a:pt x="30642" y="26463"/>
                  </a:cubicBezTo>
                  <a:cubicBezTo>
                    <a:pt x="31247" y="37908"/>
                    <a:pt x="31247" y="48112"/>
                    <a:pt x="31247" y="104066"/>
                  </a:cubicBezTo>
                  <a:lnTo>
                    <a:pt x="31247" y="167226"/>
                  </a:lnTo>
                  <a:cubicBezTo>
                    <a:pt x="31247" y="202107"/>
                    <a:pt x="31247" y="230386"/>
                    <a:pt x="29430" y="245435"/>
                  </a:cubicBezTo>
                  <a:cubicBezTo>
                    <a:pt x="27644" y="255669"/>
                    <a:pt x="25827" y="263480"/>
                    <a:pt x="18591" y="265297"/>
                  </a:cubicBezTo>
                  <a:cubicBezTo>
                    <a:pt x="15593" y="265903"/>
                    <a:pt x="5359" y="266508"/>
                    <a:pt x="5359" y="266508"/>
                  </a:cubicBezTo>
                  <a:lnTo>
                    <a:pt x="5359" y="268900"/>
                  </a:lnTo>
                  <a:cubicBezTo>
                    <a:pt x="5359" y="268900"/>
                    <a:pt x="7146" y="271322"/>
                    <a:pt x="10779" y="271322"/>
                  </a:cubicBezTo>
                  <a:lnTo>
                    <a:pt x="88988" y="271322"/>
                  </a:lnTo>
                  <a:cubicBezTo>
                    <a:pt x="92591" y="271322"/>
                    <a:pt x="94408" y="268900"/>
                    <a:pt x="94408" y="268900"/>
                  </a:cubicBezTo>
                  <a:lnTo>
                    <a:pt x="93802" y="266508"/>
                  </a:lnTo>
                  <a:cubicBezTo>
                    <a:pt x="93802" y="266508"/>
                    <a:pt x="80571" y="265903"/>
                    <a:pt x="75756" y="265297"/>
                  </a:cubicBezTo>
                  <a:cubicBezTo>
                    <a:pt x="64917" y="263480"/>
                    <a:pt x="62525" y="255669"/>
                    <a:pt x="61313" y="245435"/>
                  </a:cubicBezTo>
                  <a:cubicBezTo>
                    <a:pt x="60102" y="230386"/>
                    <a:pt x="60102" y="202137"/>
                    <a:pt x="60102" y="167226"/>
                  </a:cubicBezTo>
                  <a:lnTo>
                    <a:pt x="60102" y="158809"/>
                  </a:lnTo>
                  <a:cubicBezTo>
                    <a:pt x="60102" y="156992"/>
                    <a:pt x="60708" y="155811"/>
                    <a:pt x="62525" y="155811"/>
                  </a:cubicBezTo>
                  <a:lnTo>
                    <a:pt x="118449" y="156417"/>
                  </a:lnTo>
                  <a:cubicBezTo>
                    <a:pt x="120871" y="156417"/>
                    <a:pt x="121446" y="157022"/>
                    <a:pt x="123263" y="158839"/>
                  </a:cubicBezTo>
                  <a:cubicBezTo>
                    <a:pt x="130499" y="167862"/>
                    <a:pt x="147334" y="191933"/>
                    <a:pt x="162382" y="211765"/>
                  </a:cubicBezTo>
                  <a:cubicBezTo>
                    <a:pt x="182820" y="238834"/>
                    <a:pt x="195476" y="256274"/>
                    <a:pt x="210495" y="264692"/>
                  </a:cubicBezTo>
                  <a:cubicBezTo>
                    <a:pt x="220123" y="269506"/>
                    <a:pt x="229146" y="271322"/>
                    <a:pt x="249009" y="271322"/>
                  </a:cubicBezTo>
                  <a:lnTo>
                    <a:pt x="274866" y="271322"/>
                  </a:lnTo>
                  <a:cubicBezTo>
                    <a:pt x="280892" y="271322"/>
                    <a:pt x="283283" y="268900"/>
                    <a:pt x="283283" y="268900"/>
                  </a:cubicBezTo>
                  <a:lnTo>
                    <a:pt x="281467" y="266508"/>
                  </a:lnTo>
                  <a:cubicBezTo>
                    <a:pt x="281467" y="266508"/>
                    <a:pt x="273049" y="266508"/>
                    <a:pt x="265843" y="265297"/>
                  </a:cubicBezTo>
                  <a:moveTo>
                    <a:pt x="138917" y="138371"/>
                  </a:moveTo>
                  <a:cubicBezTo>
                    <a:pt x="130499" y="144396"/>
                    <a:pt x="108820" y="145577"/>
                    <a:pt x="99827" y="145577"/>
                  </a:cubicBezTo>
                  <a:cubicBezTo>
                    <a:pt x="84174" y="145577"/>
                    <a:pt x="67944" y="142580"/>
                    <a:pt x="62525" y="139552"/>
                  </a:cubicBezTo>
                  <a:cubicBezTo>
                    <a:pt x="60708" y="138341"/>
                    <a:pt x="60102" y="137130"/>
                    <a:pt x="60102" y="135343"/>
                  </a:cubicBezTo>
                  <a:lnTo>
                    <a:pt x="60102" y="17410"/>
                  </a:lnTo>
                  <a:cubicBezTo>
                    <a:pt x="60102" y="15593"/>
                    <a:pt x="60708" y="13807"/>
                    <a:pt x="62525" y="13201"/>
                  </a:cubicBezTo>
                  <a:cubicBezTo>
                    <a:pt x="66128" y="11990"/>
                    <a:pt x="75756" y="11385"/>
                    <a:pt x="86596" y="11385"/>
                  </a:cubicBezTo>
                  <a:cubicBezTo>
                    <a:pt x="125110" y="11385"/>
                    <a:pt x="160596" y="38453"/>
                    <a:pt x="160596" y="82962"/>
                  </a:cubicBezTo>
                  <a:cubicBezTo>
                    <a:pt x="160596" y="110636"/>
                    <a:pt x="151573" y="129893"/>
                    <a:pt x="138947" y="138311"/>
                  </a:cubicBezTo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0B22D76-BC6A-72DF-71F8-988BACB06247}"/>
                </a:ext>
              </a:extLst>
            </p:cNvPr>
            <p:cNvSpPr/>
            <p:nvPr/>
          </p:nvSpPr>
          <p:spPr>
            <a:xfrm>
              <a:off x="1132731" y="7540163"/>
              <a:ext cx="119978" cy="129762"/>
            </a:xfrm>
            <a:custGeom>
              <a:avLst/>
              <a:gdLst>
                <a:gd name="connsiteX0" fmla="*/ 108305 w 251479"/>
                <a:gd name="connsiteY0" fmla="*/ 271898 h 271988"/>
                <a:gd name="connsiteX1" fmla="*/ 215975 w 251479"/>
                <a:gd name="connsiteY1" fmla="*/ 229781 h 271988"/>
                <a:gd name="connsiteX2" fmla="*/ 226209 w 251479"/>
                <a:gd name="connsiteY2" fmla="*/ 215944 h 271988"/>
                <a:gd name="connsiteX3" fmla="*/ 239440 w 251479"/>
                <a:gd name="connsiteY3" fmla="*/ 191873 h 271988"/>
                <a:gd name="connsiteX4" fmla="*/ 217791 w 251479"/>
                <a:gd name="connsiteY4" fmla="*/ 39089 h 271988"/>
                <a:gd name="connsiteX5" fmla="*/ 108305 w 251479"/>
                <a:gd name="connsiteY5" fmla="*/ 606 h 271988"/>
                <a:gd name="connsiteX6" fmla="*/ 0 w 251479"/>
                <a:gd name="connsiteY6" fmla="*/ 0 h 271988"/>
                <a:gd name="connsiteX7" fmla="*/ 0 w 251479"/>
                <a:gd name="connsiteY7" fmla="*/ 3603 h 271988"/>
                <a:gd name="connsiteX8" fmla="*/ 2422 w 251479"/>
                <a:gd name="connsiteY8" fmla="*/ 5420 h 271988"/>
                <a:gd name="connsiteX9" fmla="*/ 7236 w 251479"/>
                <a:gd name="connsiteY9" fmla="*/ 6025 h 271988"/>
                <a:gd name="connsiteX10" fmla="*/ 7812 w 251479"/>
                <a:gd name="connsiteY10" fmla="*/ 6025 h 271988"/>
                <a:gd name="connsiteX11" fmla="*/ 18046 w 251479"/>
                <a:gd name="connsiteY11" fmla="*/ 6631 h 271988"/>
                <a:gd name="connsiteX12" fmla="*/ 21043 w 251479"/>
                <a:gd name="connsiteY12" fmla="*/ 7842 h 271988"/>
                <a:gd name="connsiteX13" fmla="*/ 22255 w 251479"/>
                <a:gd name="connsiteY13" fmla="*/ 7842 h 271988"/>
                <a:gd name="connsiteX14" fmla="*/ 25252 w 251479"/>
                <a:gd name="connsiteY14" fmla="*/ 9053 h 271988"/>
                <a:gd name="connsiteX15" fmla="*/ 27644 w 251479"/>
                <a:gd name="connsiteY15" fmla="*/ 10870 h 271988"/>
                <a:gd name="connsiteX16" fmla="*/ 29461 w 251479"/>
                <a:gd name="connsiteY16" fmla="*/ 12687 h 271988"/>
                <a:gd name="connsiteX17" fmla="*/ 30066 w 251479"/>
                <a:gd name="connsiteY17" fmla="*/ 13292 h 271988"/>
                <a:gd name="connsiteX18" fmla="*/ 30066 w 251479"/>
                <a:gd name="connsiteY18" fmla="*/ 14503 h 271988"/>
                <a:gd name="connsiteX19" fmla="*/ 33064 w 251479"/>
                <a:gd name="connsiteY19" fmla="*/ 27129 h 271988"/>
                <a:gd name="connsiteX20" fmla="*/ 33669 w 251479"/>
                <a:gd name="connsiteY20" fmla="*/ 104732 h 271988"/>
                <a:gd name="connsiteX21" fmla="*/ 33669 w 251479"/>
                <a:gd name="connsiteY21" fmla="*/ 167892 h 271988"/>
                <a:gd name="connsiteX22" fmla="*/ 33064 w 251479"/>
                <a:gd name="connsiteY22" fmla="*/ 244890 h 271988"/>
                <a:gd name="connsiteX23" fmla="*/ 30066 w 251479"/>
                <a:gd name="connsiteY23" fmla="*/ 258121 h 271988"/>
                <a:gd name="connsiteX24" fmla="*/ 30066 w 251479"/>
                <a:gd name="connsiteY24" fmla="*/ 258727 h 271988"/>
                <a:gd name="connsiteX25" fmla="*/ 29461 w 251479"/>
                <a:gd name="connsiteY25" fmla="*/ 259332 h 271988"/>
                <a:gd name="connsiteX26" fmla="*/ 27644 w 251479"/>
                <a:gd name="connsiteY26" fmla="*/ 261149 h 271988"/>
                <a:gd name="connsiteX27" fmla="*/ 25252 w 251479"/>
                <a:gd name="connsiteY27" fmla="*/ 262935 h 271988"/>
                <a:gd name="connsiteX28" fmla="*/ 22255 w 251479"/>
                <a:gd name="connsiteY28" fmla="*/ 264752 h 271988"/>
                <a:gd name="connsiteX29" fmla="*/ 21043 w 251479"/>
                <a:gd name="connsiteY29" fmla="*/ 264752 h 271988"/>
                <a:gd name="connsiteX30" fmla="*/ 18046 w 251479"/>
                <a:gd name="connsiteY30" fmla="*/ 265358 h 271988"/>
                <a:gd name="connsiteX31" fmla="*/ 7812 w 251479"/>
                <a:gd name="connsiteY31" fmla="*/ 266569 h 271988"/>
                <a:gd name="connsiteX32" fmla="*/ 2998 w 251479"/>
                <a:gd name="connsiteY32" fmla="*/ 266569 h 271988"/>
                <a:gd name="connsiteX33" fmla="*/ 1211 w 251479"/>
                <a:gd name="connsiteY33" fmla="*/ 268991 h 271988"/>
                <a:gd name="connsiteX34" fmla="*/ 1211 w 251479"/>
                <a:gd name="connsiteY34" fmla="*/ 271989 h 271988"/>
                <a:gd name="connsiteX35" fmla="*/ 108275 w 251479"/>
                <a:gd name="connsiteY35" fmla="*/ 271989 h 271988"/>
                <a:gd name="connsiteX36" fmla="*/ 116723 w 251479"/>
                <a:gd name="connsiteY36" fmla="*/ 259272 h 271988"/>
                <a:gd name="connsiteX37" fmla="*/ 72819 w 251479"/>
                <a:gd name="connsiteY37" fmla="*/ 258061 h 271988"/>
                <a:gd name="connsiteX38" fmla="*/ 64402 w 251479"/>
                <a:gd name="connsiteY38" fmla="*/ 255669 h 271988"/>
                <a:gd name="connsiteX39" fmla="*/ 62585 w 251479"/>
                <a:gd name="connsiteY39" fmla="*/ 249643 h 271988"/>
                <a:gd name="connsiteX40" fmla="*/ 61980 w 251479"/>
                <a:gd name="connsiteY40" fmla="*/ 173252 h 271988"/>
                <a:gd name="connsiteX41" fmla="*/ 61980 w 251479"/>
                <a:gd name="connsiteY41" fmla="*/ 98676 h 271988"/>
                <a:gd name="connsiteX42" fmla="*/ 62585 w 251479"/>
                <a:gd name="connsiteY42" fmla="*/ 22890 h 271988"/>
                <a:gd name="connsiteX43" fmla="*/ 64402 w 251479"/>
                <a:gd name="connsiteY43" fmla="*/ 16865 h 271988"/>
                <a:gd name="connsiteX44" fmla="*/ 72819 w 251479"/>
                <a:gd name="connsiteY44" fmla="*/ 13867 h 271988"/>
                <a:gd name="connsiteX45" fmla="*/ 89654 w 251479"/>
                <a:gd name="connsiteY45" fmla="*/ 12656 h 271988"/>
                <a:gd name="connsiteX46" fmla="*/ 115512 w 251479"/>
                <a:gd name="connsiteY46" fmla="*/ 13262 h 271988"/>
                <a:gd name="connsiteX47" fmla="*/ 138372 w 251479"/>
                <a:gd name="connsiteY47" fmla="*/ 18076 h 271988"/>
                <a:gd name="connsiteX48" fmla="*/ 160051 w 251479"/>
                <a:gd name="connsiteY48" fmla="*/ 27705 h 271988"/>
                <a:gd name="connsiteX49" fmla="*/ 220789 w 251479"/>
                <a:gd name="connsiteY49" fmla="*/ 137796 h 271988"/>
                <a:gd name="connsiteX50" fmla="*/ 172071 w 251479"/>
                <a:gd name="connsiteY50" fmla="*/ 243648 h 271988"/>
                <a:gd name="connsiteX51" fmla="*/ 116723 w 251479"/>
                <a:gd name="connsiteY51" fmla="*/ 259272 h 271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51479" h="271988">
                  <a:moveTo>
                    <a:pt x="108305" y="271898"/>
                  </a:moveTo>
                  <a:cubicBezTo>
                    <a:pt x="152209" y="271898"/>
                    <a:pt x="184092" y="262269"/>
                    <a:pt x="215975" y="229781"/>
                  </a:cubicBezTo>
                  <a:cubicBezTo>
                    <a:pt x="219578" y="226178"/>
                    <a:pt x="223181" y="221364"/>
                    <a:pt x="226209" y="215944"/>
                  </a:cubicBezTo>
                  <a:cubicBezTo>
                    <a:pt x="226209" y="215944"/>
                    <a:pt x="235837" y="200896"/>
                    <a:pt x="239440" y="191873"/>
                  </a:cubicBezTo>
                  <a:cubicBezTo>
                    <a:pt x="272535" y="107669"/>
                    <a:pt x="227995" y="49323"/>
                    <a:pt x="217791" y="39089"/>
                  </a:cubicBezTo>
                  <a:cubicBezTo>
                    <a:pt x="182911" y="5390"/>
                    <a:pt x="145003" y="1786"/>
                    <a:pt x="108305" y="606"/>
                  </a:cubicBezTo>
                  <a:cubicBezTo>
                    <a:pt x="106489" y="606"/>
                    <a:pt x="0" y="0"/>
                    <a:pt x="0" y="0"/>
                  </a:cubicBezTo>
                  <a:lnTo>
                    <a:pt x="0" y="3603"/>
                  </a:lnTo>
                  <a:cubicBezTo>
                    <a:pt x="0" y="3603"/>
                    <a:pt x="1211" y="5420"/>
                    <a:pt x="2422" y="5420"/>
                  </a:cubicBezTo>
                  <a:cubicBezTo>
                    <a:pt x="3633" y="5420"/>
                    <a:pt x="4814" y="5420"/>
                    <a:pt x="7236" y="6025"/>
                  </a:cubicBezTo>
                  <a:lnTo>
                    <a:pt x="7812" y="6025"/>
                  </a:lnTo>
                  <a:cubicBezTo>
                    <a:pt x="12020" y="6025"/>
                    <a:pt x="16229" y="6025"/>
                    <a:pt x="18046" y="6631"/>
                  </a:cubicBezTo>
                  <a:cubicBezTo>
                    <a:pt x="19257" y="7236"/>
                    <a:pt x="20438" y="7236"/>
                    <a:pt x="21043" y="7842"/>
                  </a:cubicBezTo>
                  <a:lnTo>
                    <a:pt x="22255" y="7842"/>
                  </a:lnTo>
                  <a:cubicBezTo>
                    <a:pt x="23435" y="8448"/>
                    <a:pt x="24041" y="8448"/>
                    <a:pt x="25252" y="9053"/>
                  </a:cubicBezTo>
                  <a:cubicBezTo>
                    <a:pt x="26463" y="9659"/>
                    <a:pt x="27038" y="10264"/>
                    <a:pt x="27644" y="10870"/>
                  </a:cubicBezTo>
                  <a:cubicBezTo>
                    <a:pt x="28250" y="11475"/>
                    <a:pt x="28855" y="12081"/>
                    <a:pt x="29461" y="12687"/>
                  </a:cubicBezTo>
                  <a:lnTo>
                    <a:pt x="30066" y="13292"/>
                  </a:lnTo>
                  <a:lnTo>
                    <a:pt x="30066" y="14503"/>
                  </a:lnTo>
                  <a:cubicBezTo>
                    <a:pt x="32458" y="17501"/>
                    <a:pt x="33064" y="21740"/>
                    <a:pt x="33064" y="27129"/>
                  </a:cubicBezTo>
                  <a:cubicBezTo>
                    <a:pt x="33669" y="38574"/>
                    <a:pt x="33669" y="48778"/>
                    <a:pt x="33669" y="104732"/>
                  </a:cubicBezTo>
                  <a:lnTo>
                    <a:pt x="33669" y="167892"/>
                  </a:lnTo>
                  <a:cubicBezTo>
                    <a:pt x="33669" y="223241"/>
                    <a:pt x="33669" y="233445"/>
                    <a:pt x="33064" y="244890"/>
                  </a:cubicBezTo>
                  <a:cubicBezTo>
                    <a:pt x="33064" y="250915"/>
                    <a:pt x="32458" y="255124"/>
                    <a:pt x="30066" y="258121"/>
                  </a:cubicBezTo>
                  <a:lnTo>
                    <a:pt x="30066" y="258727"/>
                  </a:lnTo>
                  <a:cubicBezTo>
                    <a:pt x="30066" y="259332"/>
                    <a:pt x="29461" y="259332"/>
                    <a:pt x="29461" y="259332"/>
                  </a:cubicBezTo>
                  <a:cubicBezTo>
                    <a:pt x="28855" y="259938"/>
                    <a:pt x="28250" y="260543"/>
                    <a:pt x="27644" y="261149"/>
                  </a:cubicBezTo>
                  <a:cubicBezTo>
                    <a:pt x="27038" y="261755"/>
                    <a:pt x="26433" y="262360"/>
                    <a:pt x="25252" y="262935"/>
                  </a:cubicBezTo>
                  <a:cubicBezTo>
                    <a:pt x="24041" y="263541"/>
                    <a:pt x="23435" y="264147"/>
                    <a:pt x="22255" y="264752"/>
                  </a:cubicBezTo>
                  <a:lnTo>
                    <a:pt x="21043" y="264752"/>
                  </a:lnTo>
                  <a:cubicBezTo>
                    <a:pt x="20438" y="265358"/>
                    <a:pt x="19257" y="265358"/>
                    <a:pt x="18046" y="265358"/>
                  </a:cubicBezTo>
                  <a:cubicBezTo>
                    <a:pt x="16229" y="265963"/>
                    <a:pt x="12020" y="266569"/>
                    <a:pt x="7812" y="266569"/>
                  </a:cubicBezTo>
                  <a:lnTo>
                    <a:pt x="2998" y="266569"/>
                  </a:lnTo>
                  <a:cubicBezTo>
                    <a:pt x="1786" y="266569"/>
                    <a:pt x="1211" y="268991"/>
                    <a:pt x="1211" y="268991"/>
                  </a:cubicBezTo>
                  <a:lnTo>
                    <a:pt x="1211" y="271989"/>
                  </a:lnTo>
                  <a:lnTo>
                    <a:pt x="108275" y="271989"/>
                  </a:lnTo>
                  <a:close/>
                  <a:moveTo>
                    <a:pt x="116723" y="259272"/>
                  </a:moveTo>
                  <a:cubicBezTo>
                    <a:pt x="100494" y="260483"/>
                    <a:pt x="77633" y="258666"/>
                    <a:pt x="72819" y="258061"/>
                  </a:cubicBezTo>
                  <a:lnTo>
                    <a:pt x="64402" y="255669"/>
                  </a:lnTo>
                  <a:cubicBezTo>
                    <a:pt x="63191" y="253852"/>
                    <a:pt x="62585" y="252671"/>
                    <a:pt x="62585" y="249643"/>
                  </a:cubicBezTo>
                  <a:cubicBezTo>
                    <a:pt x="61980" y="237623"/>
                    <a:pt x="61980" y="200926"/>
                    <a:pt x="61980" y="173252"/>
                  </a:cubicBezTo>
                  <a:lnTo>
                    <a:pt x="61980" y="98676"/>
                  </a:lnTo>
                  <a:cubicBezTo>
                    <a:pt x="61980" y="71608"/>
                    <a:pt x="61980" y="34911"/>
                    <a:pt x="62585" y="22890"/>
                  </a:cubicBezTo>
                  <a:cubicBezTo>
                    <a:pt x="62585" y="19893"/>
                    <a:pt x="63191" y="18076"/>
                    <a:pt x="64402" y="16865"/>
                  </a:cubicBezTo>
                  <a:lnTo>
                    <a:pt x="72819" y="13867"/>
                  </a:lnTo>
                  <a:cubicBezTo>
                    <a:pt x="77633" y="13262"/>
                    <a:pt x="89048" y="12656"/>
                    <a:pt x="89654" y="12656"/>
                  </a:cubicBezTo>
                  <a:cubicBezTo>
                    <a:pt x="98677" y="12051"/>
                    <a:pt x="105277" y="12051"/>
                    <a:pt x="115512" y="13262"/>
                  </a:cubicBezTo>
                  <a:cubicBezTo>
                    <a:pt x="129349" y="15079"/>
                    <a:pt x="138372" y="18076"/>
                    <a:pt x="138372" y="18076"/>
                  </a:cubicBezTo>
                  <a:cubicBezTo>
                    <a:pt x="148000" y="21074"/>
                    <a:pt x="152209" y="22890"/>
                    <a:pt x="160051" y="27705"/>
                  </a:cubicBezTo>
                  <a:cubicBezTo>
                    <a:pt x="196748" y="48748"/>
                    <a:pt x="220789" y="81236"/>
                    <a:pt x="220789" y="137796"/>
                  </a:cubicBezTo>
                  <a:cubicBezTo>
                    <a:pt x="221395" y="186513"/>
                    <a:pt x="206346" y="223816"/>
                    <a:pt x="172071" y="243648"/>
                  </a:cubicBezTo>
                  <a:cubicBezTo>
                    <a:pt x="155842" y="253277"/>
                    <a:pt x="141399" y="258091"/>
                    <a:pt x="116723" y="259272"/>
                  </a:cubicBezTo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24" r:id="rId4"/>
    <p:sldLayoutId id="2147483714" r:id="rId5"/>
    <p:sldLayoutId id="2147483715" r:id="rId6"/>
    <p:sldLayoutId id="2147483734" r:id="rId7"/>
    <p:sldLayoutId id="2147483735" r:id="rId8"/>
    <p:sldLayoutId id="2147483774" r:id="rId9"/>
    <p:sldLayoutId id="2147483775" r:id="rId10"/>
    <p:sldLayoutId id="2147483728" r:id="rId11"/>
    <p:sldLayoutId id="2147483726" r:id="rId12"/>
    <p:sldLayoutId id="2147483729" r:id="rId13"/>
    <p:sldLayoutId id="2147483730" r:id="rId14"/>
    <p:sldLayoutId id="2147483727" r:id="rId15"/>
    <p:sldLayoutId id="2147483731" r:id="rId16"/>
    <p:sldLayoutId id="2147483741" r:id="rId17"/>
    <p:sldLayoutId id="2147483742" r:id="rId18"/>
    <p:sldLayoutId id="2147483737" r:id="rId19"/>
    <p:sldLayoutId id="2147483738" r:id="rId20"/>
    <p:sldLayoutId id="2147483748" r:id="rId21"/>
    <p:sldLayoutId id="2147483716" r:id="rId22"/>
    <p:sldLayoutId id="2147483773" r:id="rId23"/>
    <p:sldLayoutId id="2147483717" r:id="rId24"/>
  </p:sldLayoutIdLst>
  <p:hf hdr="0" dt="0"/>
  <p:txStyles>
    <p:titleStyle>
      <a:lvl1pPr algn="l" defTabSz="1018824" rtl="0" eaLnBrk="1" latinLnBrk="0" hangingPunct="1">
        <a:lnSpc>
          <a:spcPct val="85000"/>
        </a:lnSpc>
        <a:spcBef>
          <a:spcPct val="0"/>
        </a:spcBef>
        <a:buNone/>
        <a:tabLst>
          <a:tab pos="457200" algn="l"/>
        </a:tabLst>
        <a:defRPr lang="en-US" sz="2200" b="0" i="0" kern="120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18824" rtl="0" eaLnBrk="1" latinLnBrk="0" hangingPunct="1">
        <a:spcBef>
          <a:spcPts val="1200"/>
        </a:spcBef>
        <a:buFontTx/>
        <a:buNone/>
        <a:defRPr lang="en-US" sz="1300" b="0" i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1018824" rtl="0" eaLnBrk="1" latinLnBrk="0" hangingPunct="1">
        <a:lnSpc>
          <a:spcPts val="1600"/>
        </a:lnSpc>
        <a:spcBef>
          <a:spcPts val="800"/>
        </a:spcBef>
        <a:buClr>
          <a:schemeClr val="tx1"/>
        </a:buClr>
        <a:buSzPct val="100000"/>
        <a:buFont typeface="Symbol" panose="05050102010706020507" pitchFamily="18" charset="2"/>
        <a:buChar char=""/>
        <a:defRPr lang="en-US" sz="1100" b="0" kern="1200" dirty="0" smtClean="0">
          <a:solidFill>
            <a:schemeClr val="tx1"/>
          </a:solidFill>
          <a:latin typeface="+mn-lt"/>
          <a:ea typeface="+mn-ea"/>
          <a:cs typeface="Aptos" panose="020B0604020202020204" pitchFamily="34" charset="0"/>
        </a:defRPr>
      </a:lvl2pPr>
      <a:lvl3pPr marL="457200" indent="-228600" algn="l" defTabSz="1018824" rtl="0" eaLnBrk="1" latinLnBrk="0" hangingPunct="1">
        <a:lnSpc>
          <a:spcPts val="1600"/>
        </a:lnSpc>
        <a:spcBef>
          <a:spcPts val="800"/>
        </a:spcBef>
        <a:buClr>
          <a:schemeClr val="tx1"/>
        </a:buClr>
        <a:buSzPct val="80000"/>
        <a:buFont typeface="Symbol" panose="05050102010706020507" pitchFamily="18" charset="2"/>
        <a:buChar char="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1018824" rtl="0" eaLnBrk="1" latinLnBrk="0" hangingPunct="1">
        <a:lnSpc>
          <a:spcPts val="1600"/>
        </a:lnSpc>
        <a:spcBef>
          <a:spcPts val="800"/>
        </a:spcBef>
        <a:buClr>
          <a:schemeClr val="tx1"/>
        </a:buClr>
        <a:buSzPct val="100000"/>
        <a:buFont typeface="Symbol" panose="05050102010706020507" pitchFamily="18" charset="2"/>
        <a:buChar char="·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1018824" rtl="0" eaLnBrk="1" latinLnBrk="0" hangingPunct="1">
        <a:lnSpc>
          <a:spcPts val="1400"/>
        </a:lnSpc>
        <a:spcBef>
          <a:spcPts val="600"/>
        </a:spcBef>
        <a:buClr>
          <a:schemeClr val="tx1"/>
        </a:buClr>
        <a:buSzPct val="80000"/>
        <a:buFont typeface="Symbol" panose="05050102010706020507" pitchFamily="18" charset="2"/>
        <a:buChar char="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1018824" rtl="0" eaLnBrk="1" latinLnBrk="0" hangingPunct="1">
        <a:lnSpc>
          <a:spcPts val="1400"/>
        </a:lnSpc>
        <a:spcBef>
          <a:spcPts val="400"/>
        </a:spcBef>
        <a:buClr>
          <a:schemeClr val="tx1"/>
        </a:buClr>
        <a:buSzPct val="100000"/>
        <a:buFont typeface="Symbol" panose="05050102010706020507" pitchFamily="18" charset="2"/>
        <a:buNone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7160" indent="-137160" algn="l" defTabSz="1018824" rtl="0" eaLnBrk="1" latinLnBrk="0" hangingPunct="1">
        <a:spcBef>
          <a:spcPts val="0"/>
        </a:spcBef>
        <a:buClr>
          <a:schemeClr val="tx1"/>
        </a:buClr>
        <a:buFont typeface="Symbol" panose="05050102010706020507" pitchFamily="18" charset="2"/>
        <a:buChar char="·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74320" indent="-137160" algn="l" defTabSz="1018824" rtl="0" eaLnBrk="1" latinLnBrk="0" hangingPunct="1">
        <a:spcBef>
          <a:spcPts val="0"/>
        </a:spcBef>
        <a:buClr>
          <a:schemeClr val="tx1"/>
        </a:buClr>
        <a:buSzPct val="80000"/>
        <a:buFont typeface="Symbol" panose="05050102010706020507" pitchFamily="18" charset="2"/>
        <a:buChar char="-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" indent="-137160" algn="l" defTabSz="1018824" rtl="0" eaLnBrk="1" latinLnBrk="0" hangingPunct="1">
        <a:spcBef>
          <a:spcPts val="0"/>
        </a:spcBef>
        <a:buClr>
          <a:schemeClr val="tx1"/>
        </a:buClr>
        <a:buFont typeface="Symbol" panose="05050102010706020507" pitchFamily="18" charset="2"/>
        <a:buChar char="·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4" userDrawn="1">
          <p15:clr>
            <a:srgbClr val="F26B43"/>
          </p15:clr>
        </p15:guide>
        <p15:guide id="2" pos="6432" userDrawn="1">
          <p15:clr>
            <a:srgbClr val="F26B43"/>
          </p15:clr>
        </p15:guide>
        <p15:guide id="4" pos="3368" userDrawn="1">
          <p15:clr>
            <a:srgbClr val="9FCC3B"/>
          </p15:clr>
        </p15:guide>
        <p15:guide id="7" orient="horz" pos="987" userDrawn="1">
          <p15:clr>
            <a:srgbClr val="F26B43"/>
          </p15:clr>
        </p15:guide>
        <p15:guide id="10" orient="horz" pos="4675" userDrawn="1">
          <p15:clr>
            <a:srgbClr val="F26B43"/>
          </p15:clr>
        </p15:guide>
        <p15:guide id="11" orient="horz" pos="2598" userDrawn="1">
          <p15:clr>
            <a:srgbClr val="9FCC3B"/>
          </p15:clr>
        </p15:guide>
        <p15:guide id="13" orient="horz" pos="4216" userDrawn="1">
          <p15:clr>
            <a:srgbClr val="F26B43"/>
          </p15:clr>
        </p15:guide>
        <p15:guide id="15" pos="3519" userDrawn="1">
          <p15:clr>
            <a:srgbClr val="F26B43"/>
          </p15:clr>
        </p15:guide>
        <p15:guide id="19" pos="3215" userDrawn="1">
          <p15:clr>
            <a:srgbClr val="F26B43"/>
          </p15:clr>
        </p15:guide>
        <p15:guide id="20" orient="horz" pos="4398" userDrawn="1">
          <p15:clr>
            <a:srgbClr val="F26B43"/>
          </p15:clr>
        </p15:guide>
        <p15:guide id="26" orient="horz" pos="741" userDrawn="1">
          <p15:clr>
            <a:srgbClr val="F26B43"/>
          </p15:clr>
        </p15:guide>
        <p15:guide id="27" pos="2143" userDrawn="1">
          <p15:clr>
            <a:srgbClr val="C35EA4"/>
          </p15:clr>
        </p15:guide>
        <p15:guide id="28" pos="4592" userDrawn="1">
          <p15:clr>
            <a:srgbClr val="C35EA4"/>
          </p15:clr>
        </p15:guide>
        <p15:guide id="29" pos="2448" userDrawn="1">
          <p15:clr>
            <a:srgbClr val="C35EA4"/>
          </p15:clr>
        </p15:guide>
        <p15:guide id="30" pos="4286" userDrawn="1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5458851-38A1-6C92-133A-D543F2817A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38204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6" imgH="346" progId="TCLayout.ActiveDocument.1">
                  <p:embed/>
                </p:oleObj>
              </mc:Choice>
              <mc:Fallback>
                <p:oleObj name="think-cell Slide" r:id="rId7" imgW="346" imgH="34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458851-38A1-6C92-133A-D543F2817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8870590D-3DA7-6549-89CF-3243A5C787A8}"/>
              </a:ext>
            </a:extLst>
          </p:cNvPr>
          <p:cNvGrpSpPr>
            <a:grpSpLocks/>
          </p:cNvGrpSpPr>
          <p:nvPr userDrawn="1"/>
        </p:nvGrpSpPr>
        <p:grpSpPr>
          <a:xfrm>
            <a:off x="1413507" y="1752687"/>
            <a:ext cx="7866386" cy="3225034"/>
            <a:chOff x="638807" y="479804"/>
            <a:chExt cx="7866386" cy="3225034"/>
          </a:xfrm>
        </p:grpSpPr>
        <p:sp>
          <p:nvSpPr>
            <p:cNvPr id="3" name="Titre 3">
              <a:extLst>
                <a:ext uri="{FF2B5EF4-FFF2-40B4-BE49-F238E27FC236}">
                  <a16:creationId xmlns:a16="http://schemas.microsoft.com/office/drawing/2014/main" id="{7A5E4FE3-8969-3119-3167-CE193E473F6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38807" y="2204864"/>
              <a:ext cx="7866386" cy="4431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defPPr>
                <a:defRPr lang="fr-FR"/>
              </a:defPPr>
              <a:lvl1pPr lvl="0" defTabSz="914400">
                <a:lnSpc>
                  <a:spcPct val="90000"/>
                </a:lnSpc>
                <a:spcBef>
                  <a:spcPct val="0"/>
                </a:spcBef>
                <a:buNone/>
                <a:defRPr lang="en-US" sz="3200" dirty="0">
                  <a:latin typeface="Aptos" panose="020B0604020202020204" pitchFamily="34" charset="0"/>
                  <a:ea typeface="+mj-ea"/>
                  <a:cs typeface="Aptos" panose="020B060402020202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ptos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ptos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ptos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ptos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ptos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ptos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ptos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ptos" charset="0"/>
                  <a:ea typeface="+mn-ea"/>
                  <a:cs typeface="+mn-cs"/>
                </a:defRPr>
              </a:lvl9pPr>
            </a:lstStyle>
            <a:p>
              <a:pPr lvl="0" algn="ctr"/>
              <a:r>
                <a:rPr lang="en-US" i="0" noProof="0">
                  <a:solidFill>
                    <a:srgbClr val="FF4747"/>
                  </a:solidFill>
                  <a:latin typeface="+mn-lt"/>
                  <a:ea typeface="Aptos" panose="02000703000000020004" pitchFamily="50" charset="0"/>
                  <a:cs typeface="Aptos" panose="02000703000000020004" pitchFamily="50" charset="0"/>
                </a:rPr>
                <a:t>Coming soon – customize your agenda</a:t>
              </a:r>
            </a:p>
          </p:txBody>
        </p:sp>
        <p:pic>
          <p:nvPicPr>
            <p:cNvPr id="4" name="Picture 3" descr="Icon&#10;&#10;Description automatically generated">
              <a:extLst>
                <a:ext uri="{FF2B5EF4-FFF2-40B4-BE49-F238E27FC236}">
                  <a16:creationId xmlns:a16="http://schemas.microsoft.com/office/drawing/2014/main" id="{0F660945-B2DA-609C-1415-CE693365229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1920" y="479804"/>
              <a:ext cx="1440160" cy="1437028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A8FB486-A0CD-A8D3-151D-CCC7B058B090}"/>
                </a:ext>
              </a:extLst>
            </p:cNvPr>
            <p:cNvSpPr txBox="1"/>
            <p:nvPr userDrawn="1"/>
          </p:nvSpPr>
          <p:spPr>
            <a:xfrm>
              <a:off x="638807" y="2996952"/>
              <a:ext cx="786638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Font typeface="+mj-lt"/>
                <a:buNone/>
              </a:pPr>
              <a:r>
                <a:rPr lang="en-US" sz="2000" b="0" i="0">
                  <a:solidFill>
                    <a:srgbClr val="242424"/>
                  </a:solidFill>
                  <a:effectLst/>
                  <a:latin typeface="+mn-lt"/>
                  <a:ea typeface="Aptos" panose="020B0502030000000004" pitchFamily="34" charset="0"/>
                  <a:cs typeface="Aptos" panose="020B0502030000000004" pitchFamily="34" charset="0"/>
                </a:rPr>
                <a:t>For more information, please reach out to your designated UpSlide consultant/customer success manag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32441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646" b="1" kern="1200">
          <a:solidFill>
            <a:srgbClr val="376092"/>
          </a:solidFill>
          <a:latin typeface="EB Garamond" pitchFamily="18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646" b="1">
          <a:solidFill>
            <a:srgbClr val="376092"/>
          </a:solidFill>
          <a:latin typeface="EB Garamond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2646" b="1">
          <a:solidFill>
            <a:srgbClr val="376092"/>
          </a:solidFill>
          <a:latin typeface="EB Garamond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2646" b="1">
          <a:solidFill>
            <a:srgbClr val="376092"/>
          </a:solidFill>
          <a:latin typeface="EB Garamond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2646" b="1">
          <a:solidFill>
            <a:srgbClr val="376092"/>
          </a:solidFill>
          <a:latin typeface="EB Garamond" pitchFamily="18" charset="0"/>
        </a:defRPr>
      </a:lvl5pPr>
      <a:lvl6pPr marL="504022" algn="l" rtl="0" fontAlgn="base">
        <a:spcBef>
          <a:spcPct val="0"/>
        </a:spcBef>
        <a:spcAft>
          <a:spcPct val="0"/>
        </a:spcAft>
        <a:defRPr sz="2646" b="1">
          <a:solidFill>
            <a:srgbClr val="376092"/>
          </a:solidFill>
          <a:latin typeface="EB Garamond" pitchFamily="18" charset="0"/>
        </a:defRPr>
      </a:lvl6pPr>
      <a:lvl7pPr marL="1008044" algn="l" rtl="0" fontAlgn="base">
        <a:spcBef>
          <a:spcPct val="0"/>
        </a:spcBef>
        <a:spcAft>
          <a:spcPct val="0"/>
        </a:spcAft>
        <a:defRPr sz="2646" b="1">
          <a:solidFill>
            <a:srgbClr val="376092"/>
          </a:solidFill>
          <a:latin typeface="EB Garamond" pitchFamily="18" charset="0"/>
        </a:defRPr>
      </a:lvl7pPr>
      <a:lvl8pPr marL="1512066" algn="l" rtl="0" fontAlgn="base">
        <a:spcBef>
          <a:spcPct val="0"/>
        </a:spcBef>
        <a:spcAft>
          <a:spcPct val="0"/>
        </a:spcAft>
        <a:defRPr sz="2646" b="1">
          <a:solidFill>
            <a:srgbClr val="376092"/>
          </a:solidFill>
          <a:latin typeface="EB Garamond" pitchFamily="18" charset="0"/>
        </a:defRPr>
      </a:lvl8pPr>
      <a:lvl9pPr marL="2016088" algn="l" rtl="0" fontAlgn="base">
        <a:spcBef>
          <a:spcPct val="0"/>
        </a:spcBef>
        <a:spcAft>
          <a:spcPct val="0"/>
        </a:spcAft>
        <a:defRPr sz="2646" b="1">
          <a:solidFill>
            <a:srgbClr val="376092"/>
          </a:solidFill>
          <a:latin typeface="EB Garamond" pitchFamily="18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Clr>
          <a:srgbClr val="376092"/>
        </a:buClr>
        <a:buSzPct val="80000"/>
        <a:defRPr lang="en-US" sz="1543" b="1" kern="1200" dirty="0">
          <a:solidFill>
            <a:srgbClr val="376092"/>
          </a:solidFill>
          <a:latin typeface="EB Garamond" pitchFamily="18" charset="0"/>
          <a:ea typeface="+mj-ea"/>
          <a:cs typeface="+mj-cs"/>
        </a:defRPr>
      </a:lvl1pPr>
      <a:lvl2pPr algn="l" rtl="0" fontAlgn="base">
        <a:spcBef>
          <a:spcPct val="20000"/>
        </a:spcBef>
        <a:spcAft>
          <a:spcPct val="0"/>
        </a:spcAft>
        <a:buClr>
          <a:srgbClr val="376092"/>
        </a:buClr>
        <a:buFont typeface="Aptos" charset="0"/>
        <a:defRPr lang="en-US" sz="1543" kern="1200" dirty="0">
          <a:solidFill>
            <a:schemeClr val="tx1"/>
          </a:solidFill>
          <a:latin typeface="EB Garamond" pitchFamily="18" charset="0"/>
          <a:ea typeface="+mn-ea"/>
          <a:cs typeface="+mn-cs"/>
        </a:defRPr>
      </a:lvl2pPr>
      <a:lvl3pPr marL="292263" indent="-292263" algn="l" rtl="0" fontAlgn="base">
        <a:spcBef>
          <a:spcPct val="20000"/>
        </a:spcBef>
        <a:spcAft>
          <a:spcPct val="0"/>
        </a:spcAft>
        <a:buClr>
          <a:srgbClr val="376092"/>
        </a:buClr>
        <a:buBlip>
          <a:blip r:embed="rId10"/>
        </a:buBlip>
        <a:defRPr lang="en-US" sz="1543" kern="1200">
          <a:solidFill>
            <a:schemeClr val="tx1"/>
          </a:solidFill>
          <a:latin typeface="EB Garamond" pitchFamily="18" charset="0"/>
          <a:ea typeface="+mn-ea"/>
          <a:cs typeface="+mn-cs"/>
        </a:defRPr>
      </a:lvl3pPr>
      <a:lvl4pPr marL="491772" indent="-199509" algn="l" rtl="0" fontAlgn="base">
        <a:spcBef>
          <a:spcPct val="20000"/>
        </a:spcBef>
        <a:spcAft>
          <a:spcPct val="0"/>
        </a:spcAft>
        <a:buFont typeface="Aptos" charset="0"/>
        <a:buChar char="–"/>
        <a:defRPr lang="en-US" sz="1543" kern="1200" dirty="0">
          <a:solidFill>
            <a:schemeClr val="tx1"/>
          </a:solidFill>
          <a:latin typeface="EB Garamond" pitchFamily="18" charset="0"/>
          <a:ea typeface="+mj-ea"/>
          <a:cs typeface="+mj-cs"/>
        </a:defRPr>
      </a:lvl4pPr>
      <a:lvl5pPr marL="691281" indent="-199509" algn="l" rtl="0" fontAlgn="base">
        <a:spcBef>
          <a:spcPct val="20000"/>
        </a:spcBef>
        <a:spcAft>
          <a:spcPct val="0"/>
        </a:spcAft>
        <a:buClr>
          <a:schemeClr val="tx2"/>
        </a:buClr>
        <a:buFont typeface="Aptos" charset="0"/>
        <a:buChar char="•"/>
        <a:defRPr lang="en-US" sz="1543" kern="1200" dirty="0">
          <a:solidFill>
            <a:schemeClr val="tx1"/>
          </a:solidFill>
          <a:latin typeface="EB Garamond" pitchFamily="18" charset="0"/>
          <a:ea typeface="+mj-ea"/>
          <a:cs typeface="+mj-cs"/>
        </a:defRPr>
      </a:lvl5pPr>
      <a:lvl6pPr marL="691281" marR="0" indent="199509" algn="l" defTabSz="100804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EB Garamond" pitchFamily="18" charset="0"/>
        <a:buChar char="−"/>
        <a:tabLst/>
        <a:defRPr lang="en-US" sz="1543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090298" marR="0" indent="-199509" algn="l" defTabSz="100804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EB Garamond" pitchFamily="18" charset="0"/>
        <a:buChar char="−"/>
        <a:tabLst/>
        <a:defRPr lang="en-US" sz="1543" kern="1200" baseline="0" dirty="0" smtClean="0">
          <a:solidFill>
            <a:schemeClr val="tx1"/>
          </a:solidFill>
          <a:latin typeface="EB Garamond" pitchFamily="18" charset="0"/>
          <a:ea typeface="+mn-ea"/>
          <a:cs typeface="+mn-cs"/>
        </a:defRPr>
      </a:lvl7pPr>
      <a:lvl8pPr marL="1289807" indent="-199509" algn="l" defTabSz="1008044" rtl="0" eaLnBrk="1" latinLnBrk="0" hangingPunct="1">
        <a:spcBef>
          <a:spcPct val="20000"/>
        </a:spcBef>
        <a:buFont typeface="EB Garamond" pitchFamily="18" charset="0"/>
        <a:buChar char="−"/>
        <a:defRPr lang="en-US" sz="1543" kern="1200" baseline="0" dirty="0" smtClean="0">
          <a:solidFill>
            <a:schemeClr val="tx1"/>
          </a:solidFill>
          <a:latin typeface="EB Garamond" pitchFamily="18" charset="0"/>
          <a:ea typeface="+mn-ea"/>
          <a:cs typeface="+mn-cs"/>
        </a:defRPr>
      </a:lvl8pPr>
      <a:lvl9pPr marL="1477065" indent="-187259" algn="l" defTabSz="1008044" rtl="0" eaLnBrk="1" latinLnBrk="0" hangingPunct="1">
        <a:spcBef>
          <a:spcPct val="20000"/>
        </a:spcBef>
        <a:buFont typeface="EB Garamond" pitchFamily="18" charset="0"/>
        <a:buChar char="−"/>
        <a:defRPr lang="en-US" sz="1543" kern="1200" baseline="0" dirty="0" smtClean="0">
          <a:solidFill>
            <a:schemeClr val="tx1"/>
          </a:solidFill>
          <a:latin typeface="EB Garamond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08044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4022" algn="l" defTabSz="1008044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8044" algn="l" defTabSz="1008044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2066" algn="l" defTabSz="1008044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6088" algn="l" defTabSz="1008044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20110" algn="l" defTabSz="1008044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4131" algn="l" defTabSz="1008044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8154" algn="l" defTabSz="1008044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2175" algn="l" defTabSz="1008044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35E6BE-2F89-6693-4ED2-5B6F1A6486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6" imgH="346" progId="TCLayout.ActiveDocument.1">
                  <p:embed/>
                </p:oleObj>
              </mc:Choice>
              <mc:Fallback>
                <p:oleObj name="think-cell Slide" r:id="rId4" imgW="346" imgH="34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35E6BE-2F89-6693-4ED2-5B6F1A648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0CF16A-0079-A268-1AD0-20F4637A1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99" y="298814"/>
            <a:ext cx="9721273" cy="398186"/>
          </a:xfrm>
        </p:spPr>
        <p:txBody>
          <a:bodyPr vert="horz"/>
          <a:lstStyle/>
          <a:p>
            <a:pPr algn="ctr"/>
            <a:r>
              <a:rPr lang="en-US" dirty="0"/>
              <a:t>Lazard Saudi Arabia</a:t>
            </a:r>
            <a:endParaRPr lang="en-GB" dirty="0"/>
          </a:p>
        </p:txBody>
      </p:sp>
      <p:sp>
        <p:nvSpPr>
          <p:cNvPr id="11" name="Text Box 4">
            <a:extLst>
              <a:ext uri="{FF2B5EF4-FFF2-40B4-BE49-F238E27FC236}">
                <a16:creationId xmlns:a16="http://schemas.microsoft.com/office/drawing/2014/main" id="{D922BEEB-67A9-F797-B21E-69F3A10961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6407" y="1813119"/>
            <a:ext cx="2154845" cy="630296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lnSpc>
                <a:spcPct val="70000"/>
              </a:lnSpc>
              <a:spcBef>
                <a:spcPct val="50000"/>
              </a:spcBef>
              <a:buNone/>
            </a:pPr>
            <a:r>
              <a:rPr lang="en-GB" altLang="en-US" sz="1200" dirty="0">
                <a:solidFill>
                  <a:schemeClr val="bg1"/>
                </a:solidFill>
                <a:latin typeface="+mn-lt"/>
              </a:rPr>
              <a:t>Board of Lazard Saudi Arabia</a:t>
            </a:r>
            <a:endParaRPr lang="en-GB" altLang="en-US" sz="1200" baseline="30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Text Box 152">
            <a:extLst>
              <a:ext uri="{FF2B5EF4-FFF2-40B4-BE49-F238E27FC236}">
                <a16:creationId xmlns:a16="http://schemas.microsoft.com/office/drawing/2014/main" id="{DFEDF469-9412-8F30-C8E0-A34D99B514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6407" y="2595712"/>
            <a:ext cx="2154845" cy="5262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tIns="144000" anchor="t" anchorCtr="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lnSpc>
                <a:spcPct val="70000"/>
              </a:lnSpc>
              <a:spcBef>
                <a:spcPct val="50000"/>
              </a:spcBef>
              <a:buNone/>
            </a:pPr>
            <a:r>
              <a:rPr lang="en-GB" altLang="en-US" sz="1000" i="1" dirty="0">
                <a:latin typeface="+mn-lt"/>
              </a:rPr>
              <a:t>CEO of MENA</a:t>
            </a:r>
            <a:r>
              <a:rPr lang="en-GB" altLang="en-US" sz="1000" dirty="0">
                <a:latin typeface="+mn-lt"/>
              </a:rPr>
              <a:t>*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0148D1-943E-1025-9B0B-92563E2A023A}"/>
              </a:ext>
            </a:extLst>
          </p:cNvPr>
          <p:cNvSpPr/>
          <p:nvPr/>
        </p:nvSpPr>
        <p:spPr>
          <a:xfrm>
            <a:off x="1658105" y="3302234"/>
            <a:ext cx="2192077" cy="4783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70000"/>
              </a:lnSpc>
              <a:spcBef>
                <a:spcPct val="50000"/>
              </a:spcBef>
            </a:pPr>
            <a:r>
              <a:rPr lang="en-GB" sz="800" dirty="0"/>
              <a:t>Middle Office</a:t>
            </a:r>
            <a:endParaRPr lang="en-GB" sz="800" baseline="30000" dirty="0"/>
          </a:p>
          <a:p>
            <a:pPr>
              <a:lnSpc>
                <a:spcPct val="70000"/>
              </a:lnSpc>
              <a:spcBef>
                <a:spcPct val="50000"/>
              </a:spcBef>
            </a:pPr>
            <a:r>
              <a:rPr lang="en-GB" sz="800" i="1" dirty="0"/>
              <a:t>EA to the CEO</a:t>
            </a:r>
          </a:p>
          <a:p>
            <a:pPr>
              <a:lnSpc>
                <a:spcPct val="70000"/>
              </a:lnSpc>
              <a:spcBef>
                <a:spcPct val="50000"/>
              </a:spcBef>
            </a:pPr>
            <a:r>
              <a:rPr lang="en-GB" sz="800" i="1" dirty="0" err="1"/>
              <a:t>Admn</a:t>
            </a:r>
            <a:r>
              <a:rPr lang="en-GB" sz="800" i="1" dirty="0"/>
              <a:t>. Assistant</a:t>
            </a:r>
            <a:endParaRPr lang="en-GB" sz="800" baseline="30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4D7FD9-AF8F-9F1A-414E-8CB999732899}"/>
              </a:ext>
            </a:extLst>
          </p:cNvPr>
          <p:cNvSpPr txBox="1"/>
          <p:nvPr/>
        </p:nvSpPr>
        <p:spPr>
          <a:xfrm>
            <a:off x="5184469" y="4561135"/>
            <a:ext cx="2154845" cy="26161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bg1"/>
                </a:solidFill>
              </a:rPr>
              <a:t>Arranging</a:t>
            </a: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4E248C8-1E01-6AF8-D94F-43015557062E}"/>
              </a:ext>
            </a:extLst>
          </p:cNvPr>
          <p:cNvCxnSpPr>
            <a:cxnSpLocks/>
            <a:stCxn id="11" idx="2"/>
            <a:endCxn id="12" idx="0"/>
          </p:cNvCxnSpPr>
          <p:nvPr/>
        </p:nvCxnSpPr>
        <p:spPr>
          <a:xfrm>
            <a:off x="5353830" y="2443415"/>
            <a:ext cx="0" cy="15229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0FA1B681-4CAE-40A6-1461-7B35C074FC36}"/>
              </a:ext>
            </a:extLst>
          </p:cNvPr>
          <p:cNvCxnSpPr>
            <a:cxnSpLocks/>
            <a:stCxn id="12" idx="2"/>
            <a:endCxn id="17" idx="3"/>
          </p:cNvCxnSpPr>
          <p:nvPr/>
        </p:nvCxnSpPr>
        <p:spPr>
          <a:xfrm rot="5400000">
            <a:off x="4392272" y="2579874"/>
            <a:ext cx="419469" cy="1503648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6A3BD602-5CB8-206C-C455-B3287F94C9A7}"/>
              </a:ext>
            </a:extLst>
          </p:cNvPr>
          <p:cNvCxnSpPr>
            <a:cxnSpLocks/>
          </p:cNvCxnSpPr>
          <p:nvPr/>
        </p:nvCxnSpPr>
        <p:spPr>
          <a:xfrm rot="5400000">
            <a:off x="2418870" y="1622611"/>
            <a:ext cx="1420278" cy="444964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BBA83020-2BA6-0ADD-13F4-DE5FE45F59C6}"/>
              </a:ext>
            </a:extLst>
          </p:cNvPr>
          <p:cNvCxnSpPr>
            <a:cxnSpLocks/>
            <a:stCxn id="12" idx="2"/>
          </p:cNvCxnSpPr>
          <p:nvPr/>
        </p:nvCxnSpPr>
        <p:spPr>
          <a:xfrm rot="16200000" flipH="1">
            <a:off x="5097582" y="3378211"/>
            <a:ext cx="1411008" cy="89851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52">
            <a:extLst>
              <a:ext uri="{FF2B5EF4-FFF2-40B4-BE49-F238E27FC236}">
                <a16:creationId xmlns:a16="http://schemas.microsoft.com/office/drawing/2014/main" id="{0B82F0D0-5DBA-A139-C6CB-8C9A2673682D}"/>
              </a:ext>
            </a:extLst>
          </p:cNvPr>
          <p:cNvSpPr/>
          <p:nvPr/>
        </p:nvSpPr>
        <p:spPr>
          <a:xfrm>
            <a:off x="6316849" y="2069823"/>
            <a:ext cx="124178" cy="124178"/>
          </a:xfrm>
          <a:prstGeom prst="ellipse">
            <a:avLst/>
          </a:prstGeom>
          <a:noFill/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GB" sz="1000" err="1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E907C25B-D16E-B93D-C112-83A413448FE0}"/>
              </a:ext>
            </a:extLst>
          </p:cNvPr>
          <p:cNvSpPr/>
          <p:nvPr/>
        </p:nvSpPr>
        <p:spPr>
          <a:xfrm>
            <a:off x="6316849" y="1890334"/>
            <a:ext cx="124178" cy="124178"/>
          </a:xfrm>
          <a:prstGeom prst="ellipse">
            <a:avLst/>
          </a:prstGeom>
          <a:noFill/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GB" sz="1000" err="1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AE36EFBD-B834-D3DD-8C61-970CF4CB437E}"/>
              </a:ext>
            </a:extLst>
          </p:cNvPr>
          <p:cNvSpPr/>
          <p:nvPr/>
        </p:nvSpPr>
        <p:spPr>
          <a:xfrm>
            <a:off x="6316849" y="2254180"/>
            <a:ext cx="124178" cy="124178"/>
          </a:xfrm>
          <a:prstGeom prst="ellipse">
            <a:avLst/>
          </a:prstGeom>
          <a:noFill/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GB" sz="1000" err="1"/>
          </a:p>
        </p:txBody>
      </p: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EE48818E-792C-A22E-C9C2-A7784A276C62}"/>
              </a:ext>
            </a:extLst>
          </p:cNvPr>
          <p:cNvCxnSpPr>
            <a:cxnSpLocks/>
          </p:cNvCxnSpPr>
          <p:nvPr/>
        </p:nvCxnSpPr>
        <p:spPr>
          <a:xfrm rot="10800000" flipV="1">
            <a:off x="3031145" y="1921424"/>
            <a:ext cx="3409882" cy="2893655"/>
          </a:xfrm>
          <a:prstGeom prst="bentConnector4">
            <a:avLst>
              <a:gd name="adj1" fmla="val -103834"/>
              <a:gd name="adj2" fmla="val 141375"/>
            </a:avLst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EBE79147-5316-31E9-4819-04B2A0F1BB63}"/>
              </a:ext>
            </a:extLst>
          </p:cNvPr>
          <p:cNvCxnSpPr>
            <a:cxnSpLocks/>
          </p:cNvCxnSpPr>
          <p:nvPr/>
        </p:nvCxnSpPr>
        <p:spPr>
          <a:xfrm rot="10800000" flipV="1">
            <a:off x="924315" y="2124572"/>
            <a:ext cx="5423731" cy="2706006"/>
          </a:xfrm>
          <a:prstGeom prst="bentConnector4">
            <a:avLst>
              <a:gd name="adj1" fmla="val -67837"/>
              <a:gd name="adj2" fmla="val 145103"/>
            </a:avLst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Section Reminder">
            <a:extLst>
              <a:ext uri="{FF2B5EF4-FFF2-40B4-BE49-F238E27FC236}">
                <a16:creationId xmlns:a16="http://schemas.microsoft.com/office/drawing/2014/main" id="{2DE29122-EB97-4FA2-8F93-740D3821856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347337" y="670561"/>
            <a:ext cx="4860000" cy="176400"/>
          </a:xfrm>
          <a:prstGeom prst="rect">
            <a:avLst/>
          </a:prstGeom>
          <a:noFill/>
        </p:spPr>
        <p:txBody>
          <a:bodyPr vert="horz" wrap="square" lIns="46800" tIns="0" rIns="0" bIns="28800" rtlCol="0" anchor="b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900" b="0" cap="all" spc="200" noProof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757ECDC-B240-6609-E050-439A85E09491}"/>
              </a:ext>
            </a:extLst>
          </p:cNvPr>
          <p:cNvGrpSpPr/>
          <p:nvPr/>
        </p:nvGrpSpPr>
        <p:grpSpPr>
          <a:xfrm>
            <a:off x="283534" y="1677595"/>
            <a:ext cx="2693705" cy="1514579"/>
            <a:chOff x="775043" y="4207560"/>
            <a:chExt cx="2251253" cy="1339784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0FE48B6-0B24-4D53-FA3D-F5A2DC97A23C}"/>
                </a:ext>
              </a:extLst>
            </p:cNvPr>
            <p:cNvSpPr/>
            <p:nvPr/>
          </p:nvSpPr>
          <p:spPr>
            <a:xfrm>
              <a:off x="775043" y="4459037"/>
              <a:ext cx="2236360" cy="108830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6350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just" defTabSz="958850" eaLnBrk="0" fontAlgn="base" hangingPunct="0">
                <a:lnSpc>
                  <a:spcPct val="90000"/>
                </a:lnSpc>
                <a:spcAft>
                  <a:spcPts val="300"/>
                </a:spcAft>
                <a:buClr>
                  <a:schemeClr val="accent4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  <a:tabLst>
                  <a:tab pos="457200" algn="l"/>
                  <a:tab pos="914400" algn="l"/>
                  <a:tab pos="1371600" algn="l"/>
                  <a:tab pos="1828800" algn="l"/>
                </a:tabLst>
              </a:pPr>
              <a:endParaRPr lang="it-IT" sz="1100" dirty="0"/>
            </a:p>
            <a:p>
              <a:pPr marL="171450" indent="-171450" algn="just" defTabSz="958850" eaLnBrk="0" fontAlgn="base" hangingPunct="0">
                <a:lnSpc>
                  <a:spcPct val="90000"/>
                </a:lnSpc>
                <a:spcAft>
                  <a:spcPts val="300"/>
                </a:spcAft>
                <a:buClr>
                  <a:schemeClr val="accent4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  <a:tabLst>
                  <a:tab pos="457200" algn="l"/>
                  <a:tab pos="914400" algn="l"/>
                  <a:tab pos="1371600" algn="l"/>
                  <a:tab pos="1828800" algn="l"/>
                </a:tabLst>
              </a:pPr>
              <a:endParaRPr lang="it-IT" sz="1000" dirty="0"/>
            </a:p>
            <a:p>
              <a:pPr marL="171450" indent="-171450" algn="just" defTabSz="958850" eaLnBrk="0" fontAlgn="base" hangingPunct="0">
                <a:lnSpc>
                  <a:spcPct val="90000"/>
                </a:lnSpc>
                <a:spcAft>
                  <a:spcPts val="300"/>
                </a:spcAft>
                <a:buClr>
                  <a:schemeClr val="accent4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  <a:tabLst>
                  <a:tab pos="457200" algn="l"/>
                  <a:tab pos="914400" algn="l"/>
                  <a:tab pos="1371600" algn="l"/>
                  <a:tab pos="1828800" algn="l"/>
                </a:tabLst>
              </a:pPr>
              <a:r>
                <a:rPr lang="it-IT" sz="1000" dirty="0"/>
                <a:t>HR</a:t>
              </a:r>
            </a:p>
            <a:p>
              <a:pPr marL="171450" indent="-171450" algn="just" defTabSz="958850" eaLnBrk="0" fontAlgn="base" hangingPunct="0">
                <a:lnSpc>
                  <a:spcPct val="90000"/>
                </a:lnSpc>
                <a:spcAft>
                  <a:spcPts val="300"/>
                </a:spcAft>
                <a:buClr>
                  <a:schemeClr val="accent4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  <a:tabLst>
                  <a:tab pos="457200" algn="l"/>
                  <a:tab pos="914400" algn="l"/>
                  <a:tab pos="1371600" algn="l"/>
                  <a:tab pos="1828800" algn="l"/>
                </a:tabLst>
              </a:pPr>
              <a:r>
                <a:rPr lang="it-IT" sz="1000" dirty="0"/>
                <a:t>Legal</a:t>
              </a:r>
            </a:p>
            <a:p>
              <a:pPr marL="171450" indent="-171450" algn="just" defTabSz="958850" eaLnBrk="0" fontAlgn="base" hangingPunct="0">
                <a:lnSpc>
                  <a:spcPct val="90000"/>
                </a:lnSpc>
                <a:spcAft>
                  <a:spcPts val="300"/>
                </a:spcAft>
                <a:buClr>
                  <a:schemeClr val="accent4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  <a:tabLst>
                  <a:tab pos="457200" algn="l"/>
                  <a:tab pos="914400" algn="l"/>
                  <a:tab pos="1371600" algn="l"/>
                  <a:tab pos="1828800" algn="l"/>
                </a:tabLst>
              </a:pPr>
              <a:r>
                <a:rPr lang="it-IT" sz="1000" dirty="0"/>
                <a:t>Insurance</a:t>
              </a:r>
            </a:p>
            <a:p>
              <a:pPr marL="171450" indent="-171450" algn="just" defTabSz="958850" eaLnBrk="0" fontAlgn="base" hangingPunct="0">
                <a:lnSpc>
                  <a:spcPct val="90000"/>
                </a:lnSpc>
                <a:spcAft>
                  <a:spcPts val="300"/>
                </a:spcAft>
                <a:buClr>
                  <a:schemeClr val="accent4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  <a:tabLst>
                  <a:tab pos="457200" algn="l"/>
                  <a:tab pos="914400" algn="l"/>
                  <a:tab pos="1371600" algn="l"/>
                  <a:tab pos="1828800" algn="l"/>
                </a:tabLst>
              </a:pPr>
              <a:r>
                <a:rPr lang="it-IT" sz="1000" dirty="0" err="1"/>
                <a:t>Property</a:t>
              </a:r>
              <a:r>
                <a:rPr lang="it-IT" sz="1000" dirty="0"/>
                <a:t> Management</a:t>
              </a:r>
            </a:p>
            <a:p>
              <a:pPr marL="171450" indent="-171450" algn="just" defTabSz="958850" eaLnBrk="0" fontAlgn="base" hangingPunct="0">
                <a:lnSpc>
                  <a:spcPct val="90000"/>
                </a:lnSpc>
                <a:spcAft>
                  <a:spcPts val="300"/>
                </a:spcAft>
                <a:buClr>
                  <a:schemeClr val="accent4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  <a:tabLst>
                  <a:tab pos="457200" algn="l"/>
                  <a:tab pos="914400" algn="l"/>
                  <a:tab pos="1371600" algn="l"/>
                  <a:tab pos="1828800" algn="l"/>
                </a:tabLst>
              </a:pPr>
              <a:r>
                <a:rPr lang="it-IT" sz="1000" dirty="0" err="1"/>
                <a:t>Research</a:t>
              </a:r>
              <a:r>
                <a:rPr lang="it-IT" sz="1000" dirty="0"/>
                <a:t> Services</a:t>
              </a:r>
            </a:p>
            <a:p>
              <a:pPr marL="171450" indent="-171450" algn="just" defTabSz="958850" eaLnBrk="0" fontAlgn="base" hangingPunct="0">
                <a:lnSpc>
                  <a:spcPct val="90000"/>
                </a:lnSpc>
                <a:spcAft>
                  <a:spcPts val="300"/>
                </a:spcAft>
                <a:buClr>
                  <a:schemeClr val="accent4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  <a:tabLst>
                  <a:tab pos="457200" algn="l"/>
                  <a:tab pos="914400" algn="l"/>
                  <a:tab pos="1371600" algn="l"/>
                  <a:tab pos="1828800" algn="l"/>
                </a:tabLst>
              </a:pPr>
              <a:r>
                <a:rPr lang="it-IT" sz="1000" dirty="0"/>
                <a:t>IT</a:t>
              </a:r>
            </a:p>
            <a:p>
              <a:pPr marL="171450" indent="-171450" algn="just" defTabSz="958850" eaLnBrk="0" fontAlgn="base" hangingPunct="0">
                <a:lnSpc>
                  <a:spcPct val="90000"/>
                </a:lnSpc>
                <a:spcAft>
                  <a:spcPts val="300"/>
                </a:spcAft>
                <a:buClr>
                  <a:schemeClr val="accent4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  <a:tabLst>
                  <a:tab pos="457200" algn="l"/>
                  <a:tab pos="914400" algn="l"/>
                  <a:tab pos="1371600" algn="l"/>
                  <a:tab pos="1828800" algn="l"/>
                </a:tabLst>
              </a:pPr>
              <a:r>
                <a:rPr lang="it-IT" sz="1000" dirty="0"/>
                <a:t>Tax</a:t>
              </a:r>
            </a:p>
            <a:p>
              <a:pPr marL="171450" indent="-171450" algn="just" defTabSz="958850" eaLnBrk="0" fontAlgn="base" hangingPunct="0">
                <a:lnSpc>
                  <a:spcPct val="90000"/>
                </a:lnSpc>
                <a:spcAft>
                  <a:spcPts val="300"/>
                </a:spcAft>
                <a:buClr>
                  <a:schemeClr val="accent4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  <a:tabLst>
                  <a:tab pos="457200" algn="l"/>
                  <a:tab pos="914400" algn="l"/>
                  <a:tab pos="1371600" algn="l"/>
                  <a:tab pos="1828800" algn="l"/>
                </a:tabLst>
              </a:pPr>
              <a:endParaRPr lang="it-IT" sz="1100" dirty="0"/>
            </a:p>
            <a:p>
              <a:pPr marL="171450" indent="-171450" algn="just" defTabSz="958850" eaLnBrk="0" fontAlgn="base" hangingPunct="0">
                <a:lnSpc>
                  <a:spcPct val="90000"/>
                </a:lnSpc>
                <a:spcAft>
                  <a:spcPts val="300"/>
                </a:spcAft>
                <a:buClr>
                  <a:schemeClr val="accent4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  <a:tabLst>
                  <a:tab pos="457200" algn="l"/>
                  <a:tab pos="914400" algn="l"/>
                  <a:tab pos="1371600" algn="l"/>
                  <a:tab pos="1828800" algn="l"/>
                </a:tabLst>
              </a:pPr>
              <a:endParaRPr lang="it-IT" sz="1100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17EE1D3-F49D-ED5D-121B-A91266B39082}"/>
                </a:ext>
              </a:extLst>
            </p:cNvPr>
            <p:cNvSpPr txBox="1"/>
            <p:nvPr/>
          </p:nvSpPr>
          <p:spPr>
            <a:xfrm>
              <a:off x="775991" y="4207560"/>
              <a:ext cx="2250305" cy="228393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vert="horz" wrap="square" rtlCol="0">
              <a:spAutoFit/>
            </a:bodyPr>
            <a:lstStyle/>
            <a:p>
              <a:pPr algn="ctr"/>
              <a:r>
                <a:rPr lang="en-GB" sz="1000" b="1"/>
                <a:t>SUPPORT SERVICES FROM LAZARD</a:t>
              </a:r>
              <a:endParaRPr lang="en-US" sz="1000" b="1" baseline="30000"/>
            </a:p>
          </p:txBody>
        </p:sp>
      </p:grp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EDB1B7FD-6343-2A93-CC30-59EDA4DD1BF8}"/>
              </a:ext>
            </a:extLst>
          </p:cNvPr>
          <p:cNvCxnSpPr>
            <a:cxnSpLocks/>
          </p:cNvCxnSpPr>
          <p:nvPr/>
        </p:nvCxnSpPr>
        <p:spPr>
          <a:xfrm>
            <a:off x="5369329" y="3616009"/>
            <a:ext cx="3321372" cy="1207498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39995078-21FD-E5D2-45CD-08742736EA9C}"/>
              </a:ext>
            </a:extLst>
          </p:cNvPr>
          <p:cNvSpPr txBox="1"/>
          <p:nvPr/>
        </p:nvSpPr>
        <p:spPr>
          <a:xfrm>
            <a:off x="7605528" y="4561143"/>
            <a:ext cx="2154845" cy="26161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bg1"/>
                </a:solidFill>
              </a:rPr>
              <a:t>Investment Management 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0415DC1-BFF8-1115-BE89-AACE46DE15C5}"/>
              </a:ext>
            </a:extLst>
          </p:cNvPr>
          <p:cNvSpPr txBox="1"/>
          <p:nvPr/>
        </p:nvSpPr>
        <p:spPr>
          <a:xfrm>
            <a:off x="153196" y="4561219"/>
            <a:ext cx="1825200" cy="26161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bg1"/>
                </a:solidFill>
              </a:rPr>
              <a:t>Compliance and AML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66943CF-1F64-9936-59A9-D4835EC16F8C}"/>
              </a:ext>
            </a:extLst>
          </p:cNvPr>
          <p:cNvSpPr txBox="1"/>
          <p:nvPr/>
        </p:nvSpPr>
        <p:spPr>
          <a:xfrm>
            <a:off x="2141218" y="4561219"/>
            <a:ext cx="1826347" cy="26161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bg1"/>
                </a:solidFill>
              </a:rPr>
              <a:t>Finance</a:t>
            </a: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E3C2F431-1065-E22D-58CF-80D900630FD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456814" y="2674172"/>
            <a:ext cx="1447004" cy="2340000"/>
          </a:xfrm>
          <a:prstGeom prst="bentConnector3">
            <a:avLst>
              <a:gd name="adj1" fmla="val 49464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02147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TOCMASTERID" val="Lazard Landscape A411 12 2019"/>
  <p:tag name="UPSLIDETOCMASTERNAME" val="Lazard Landscape A4"/>
  <p:tag name="UPSLIDETOCMASTERLASTEDITIONDATE" val="637091705323462909"/>
  <p:tag name="COLUMNSNUMBER" val="3"/>
  <p:tag name="COLUMNSGUTTER" val="28"/>
  <p:tag name="ROWSNUMBER" val="1"/>
  <p:tag name="ROWSGUTTER" val="28"/>
  <p:tag name="UNIQUEMARGIN" val="True"/>
  <p:tag name="TOPMARGIN" val="28"/>
  <p:tag name="LEFTMARGIN" val="28"/>
  <p:tag name="BOTTOMMARGIN" val="28"/>
  <p:tag name="RIGHTMARGIN" val="28"/>
  <p:tag name="MARGINSIZEUNIT" val="pt"/>
  <p:tag name="UPSLIDETOCALGOID" val="ScriptedShapesTocAlgo"/>
  <p:tag name="UPSLIDEPRINTFACINGPAGESLAYOUT" val="Blank"/>
  <p:tag name="DATESCRIPT" val="&lt;%Date%&gt;"/>
  <p:tag name="UPSLIDEPRINTFACINGPAGESDESIGN" val="UpSlide Landscape A4"/>
  <p:tag name="UPSLIDE" val="Laz02439_A4__10-11-2023"/>
  <p:tag name="TEMPLATESHORTNAMETAG" val="1  A4 Pitchbook"/>
  <p:tag name="TEMPLATEFULLNAMETAG" val="1  A4 Pitchbook"/>
  <p:tag name="UPSLIDEVERSION" val="6.9.9.2"/>
  <p:tag name="FOOTERSCRIPT" val="Lazard RHQ Governance Framework"/>
  <p:tag name="UPSLIDETOCOPTIONS" val="&lt;?xml version=&quot;1.0&quot; encoding=&quot;utf-16&quot;?&gt;&#10;&lt;TocContentOptions xmlns:xsd=&quot;http://www.w3.org/2001/XMLSchema&quot; xmlns:xsi=&quot;http://www.w3.org/2001/XMLSchema-instance&quot;&gt;&#10;  &lt;TocSlidesOptions&gt;&#10;    &lt;ContainsSubSectionTitles&gt;true&lt;/ContainsSubSectionTitles&gt;&#10;    &lt;ContainsSlideTitles&gt;false&lt;/ContainsSlideTitles&gt;&#10;    &lt;ContainsParentLessSlidesTitles&gt;false&lt;/ContainsParentLessSlidesTitles&gt;&#10;    &lt;ContainsPrentLessSubsections&gt;false&lt;/ContainsPrentLessSubsections&gt;&#10;    &lt;ContainsAppendix&gt;true&lt;/ContainsAppendix&gt;&#10;    &lt;ContainsUnNumberedSections&gt;true&lt;/ContainsUnNumberedSections&gt;&#10;    &lt;SlideTitle /&gt;&#10;  &lt;/TocSlidesOptions&gt;&#10;  &lt;SectionSlideOptions&gt;&#10;    &lt;ContainsOwnSubSection&gt;false&lt;/ContainsOwnSubSection&gt;&#10;    &lt;ContainsOwnSlide&gt;false&lt;/ContainsOwnSlide&gt;&#10;    &lt;ContainsOtherSections&gt;false&lt;/ContainsOtherSections&gt;&#10;    &lt;ContainsOthersSubsection&gt;false&lt;/ContainsOthersSubsection&gt;&#10;    &lt;containsAppendix&gt;true&lt;/containsAppendix&gt;&#10;    &lt;containsUnnumberedSections&gt;true&lt;/containsUnnumberedSections&gt;&#10;    &lt;SlideTitle /&gt;&#10;  &lt;/SectionSlideOptions&gt;&#10;  &lt;SubSectionSlideOptions&gt;&#10;    &lt;ContainsOtherSubsections&gt;false&lt;/ContainsOtherSubsections&gt;&#10;    &lt;ContainsOwnSlides&gt;false&lt;/ContainsOwnSlides&gt;&#10;    &lt;ContainsParentSection&gt;false&lt;/ContainsParentSection&gt;&#10;    &lt;ContainsOtherSections&gt;false&lt;/ContainsOtherSections&gt;&#10;    &lt;containsAppendix&gt;true&lt;/containsAppendix&gt;&#10;    &lt;containsUnnumberedSections&gt;false&lt;/containsUnnumberedSections&gt;&#10;    &lt;SlideTitle /&gt;&#10;  &lt;/SubSectionSlideOptions&gt;&#10;  &lt;UsedSlideLayouts&gt;&#10;    &lt;TocSlidesLayout&gt;&#10;      &lt;DesignName&gt;UpSlide Landscape A4&lt;/DesignName&gt;&#10;      &lt;LayoutName&gt;Table of Contents&lt;/LayoutName&gt;&#10;    &lt;/TocSlidesLayout&gt;&#10;    &lt;SectionLayout&gt;&#10;      &lt;DesignName&gt;UpSlide Landscape A4&lt;/DesignName&gt;&#10;      &lt;LayoutName&gt;Section Header&lt;/LayoutName&gt;&#10;    &lt;/SectionLayout&gt;&#10;    &lt;SubsectionLayout&gt;&#10;      &lt;DesignName&gt;UpSlide Landscape A4&lt;/DesignName&gt;&#10;      &lt;LayoutName&gt;Section Header&lt;/LayoutName&gt;&#10;    &lt;/SubsectionLayout&gt;&#10;    &lt;AppendixLayout&gt;&#10;      &lt;DesignName /&gt;&#10;      &lt;LayoutName /&gt;&#10;    &lt;/AppendixLayout&gt;&#10;    &lt;TitleSliLayout&gt;&#10;      &lt;DesignName&gt;UpSlide Landscape A4&lt;/DesignName&gt;&#10;      &lt;LayoutName&gt;Title Slide&lt;/LayoutName&gt;&#10;    &lt;/TitleSliLayout&gt;&#10;  &lt;/UsedSlideLayouts&gt;&#10;  &lt;ActiveReminders&gt;&#10;    &lt;ReminderScriptList&gt;&#10;      &lt;ReminderScript&gt;&#10;        &lt;Key xsi:type=&quot;xsd:string&quot;&gt;Reminder9/9/2020 4:38:02 PM759187771&lt;/Key&gt;&#10;        &lt;Value xsi:type=&quot;xsd:string&quot;&gt;&amp;lt;%SubSecNumElseSecNum%&amp;gt;   &amp;lt;%SubSecNameElseSecName%&amp;gt;&lt;/Value&gt;&#10;      &lt;/ReminderScript&gt;&#10;    &lt;/ReminderScriptList&gt;&#10;    &lt;MigrationVersion&gt;6.8.9.0&lt;/MigrationVersion&gt;&#10;  &lt;/ActiveReminders&gt;&#10;  &lt;HardRefreshRequired&gt;false&lt;/HardRefreshRequired&gt;&#10;  &lt;CustomAlgoOptions xsi:type=&quot;ScriptedSpecificAlgoOptions&quot;&gt;&#10;    &lt;CustomBaseAlgoOptions&gt;&#10;      &lt;UseSlideTitleAsSubSectionMarker&gt;false&lt;/UseSlideTitleAsSubSectionMarker&gt;&#10;      &lt;SlideTitleAsSectionMarker&gt;&#10;        &lt;UseTitleAsReminder&gt;false&lt;/UseTitleAsReminder&gt;&#10;      &lt;/SlideTitleAsSectionMarker&gt;&#10;      &lt;ShowSectionNums&gt;true&lt;/ShowSectionNums&gt;&#10;      &lt;ShowSlideIndex&gt;true&lt;/ShowSlideIndex&gt;&#10;      &lt;myColorOfNonCurrentItems&gt;&#10;        &lt;UseFixedColor&gt;false&lt;/UseFixedColor&gt;&#10;        &lt;R&gt;0&lt;/R&gt;&#10;        &lt;G&gt;0&lt;/G&gt;&#10;        &lt;B&gt;0&lt;/B&gt;&#10;      &lt;/myColorOfNonCurrentItems&gt;&#10;      &lt;currentItemFormat&gt;&#10;        &lt;UseBanner&gt;false&lt;/UseBanner&gt;&#10;        &lt;BannerFillR&gt;0&lt;/BannerFillR&gt;&#10;        &lt;BannerFillG&gt;0&lt;/BannerFillG&gt;&#10;        &lt;BannerFillB&gt;0&lt;/BannerFillB&gt;&#10;        &lt;ForceBold&gt;false&lt;/ForceBold&gt;&#10;        &lt;ApplyToSubSections&gt;true&lt;/ApplyToSubSections&gt;&#10;        &lt;ApplyToSectionsOnSubSectionDividers&gt;false&lt;/ApplyToSectionsOnSubSectionDividers&gt;&#10;        &lt;UseSubSecSpecificBanner&gt;false&lt;/UseSubSecSpecificBanner&gt;&#10;        &lt;SubSecBannerFillR&gt;0&lt;/SubSecBannerFillR&gt;&#10;        &lt;SubSecBannerFillG&gt;0&lt;/SubSecBannerFillG&gt;&#10;        &lt;SubSecBannerFillB&gt;0&lt;/SubSecBannerFillB&gt;&#10;      &lt;/currentItemFormat&gt;&#10;      &lt;nonCurrentItemAttenuation&gt;&#10;        &lt;Shading&gt;0.6&lt;/Shading&gt;&#10;      &lt;/nonCurrentItemAttenuation&gt;&#10;      &lt;ForceDisplayTOCOnTwocolumns&gt;false&lt;/ForceDisplayTOCOnTwocolumns&gt;&#10;      &lt;DisplayTOCOnTwocolumns&gt;false&lt;/DisplayTOCOnTwocolumns&gt;&#10;      &lt;Scripts&gt;&#10;        &lt;BeforeSubSecTitle /&gt;&#10;        &lt;BeforeSlideIndex /&gt;&#10;        &lt;AfterSecNum /&gt;&#10;        &lt;BeforeSecNum /&gt;&#10;        &lt;ZeroBeforeSecNum&gt;false&lt;/ZeroBeforeSecNum&gt;&#10;        &lt;AfterSubSecNum /&gt;&#10;        &lt;BeforeSubSecNum /&gt;&#10;      &lt;/Scripts&gt;&#10;      &lt;Lines&gt;&#10;        &lt;UseLineBelowSections&gt;false&lt;/UseLineBelowSections&gt;&#10;        &lt;LineBelowSection&gt;&#10;          &lt;XOffset&gt;0&lt;/XOffset&gt;&#10;          &lt;YOffset&gt;0&lt;/YOffset&gt;&#10;          &lt;Weight&gt;0&lt;/Weight&gt;&#10;          &lt;R&gt;0&lt;/R&gt;&#10;          &lt;G&gt;0&lt;/G&gt;&#10;          &lt;B&gt;0&lt;/B&gt;&#10;          &lt;LineStyle&gt;1&lt;/LineStyle&gt;&#10;        &lt;/LineBelowSection&gt;&#10;      &lt;/Lines&gt;&#10;      &lt;ManVerticalSpacing&gt;&#10;        &lt;UseManualSpacing&gt;true&lt;/UseManualSpacing&gt;&#10;        &lt;ManualSpacing&gt;&#10;          &lt;SpaceBeforeSections&gt;4.5&lt;/SpaceBeforeSections&gt;&#10;          &lt;SpaceBeforeSubSections&gt;4.5&lt;/SpaceBeforeSubSections&gt;&#10;          &lt;SpaceBeforeSlides&gt;4.5&lt;/SpaceBeforeSlides&gt;&#10;        &lt;/ManualSpacing&gt;&#10;        &lt;ManualSpacingSections&gt;&#10;          &lt;SpaceBeforeSections&gt;17.4750233&lt;/SpaceBeforeSections&gt;&#10;          &lt;SpaceBeforeSubSections&gt;11.6500158&lt;/SpaceBeforeSubSections&gt;&#10;          &lt;SpaceBeforeSlides&gt;5.825008&lt;/SpaceBeforeSlides&gt;&#10;        &lt;/ManualSpacingSections&gt;&#10;        &lt;ManualSpacingSubSections&gt;&#10;          &lt;SpaceBeforeSections&gt;17.4750233&lt;/SpaceBeforeSections&gt;&#10;          &lt;SpaceBeforeSubSections&gt;11.6500158&lt;/SpaceBeforeSubSections&gt;&#10;          &lt;SpaceBeforeSlides&gt;5.825008&lt;/SpaceBeforeSlides&gt;&#10;        &lt;/ManualSpacingSubSections&gt;&#10;        &lt;UseSpecificSpacingForSecDivider&gt;false&lt;/UseSpecificSpacingForSecDivider&gt;&#10;        &lt;UseSpecificSpacingForSubSecDivider&gt;false&lt;/UseSpecificSpacingForSubSecDivider&gt;&#10;      &lt;/ManVerticalSpacing&gt;&#10;    &lt;/CustomBaseAlgoOptions&gt;&#10;    &lt;Sh1SecDividerOptions&gt;&#10;      &lt;UseShapeInDividers&gt;true&lt;/UseShapeInDividers&gt;&#10;      &lt;script&gt;&amp;lt;%SectionName%&amp;gt;&lt;/script&gt;&#10;    &lt;/Sh1SecDividerOptions&gt;&#10;    &lt;Sh2SecDividerOptions&gt;&#10;      &lt;UseShapeInDividers&gt;true&lt;/UseShapeInDividers&gt;&#10;      &lt;script&gt;&amp;lt;%SectionNum%&amp;gt;&lt;/script&gt;&#10;    &lt;/Sh2SecDividerOptions&gt;&#10;    &lt;Sh3SecDividerOptions&gt;&#10;      &lt;UseShapeInDividers&gt;false&lt;/UseShapeInDividers&gt;&#10;    &lt;/Sh3SecDividerOptions&gt;&#10;    &lt;Sh1SubSecDividerOptions&gt;&#10;      &lt;UseShapeInDividers&gt;true&lt;/UseShapeInDividers&gt;&#10;      &lt;script&gt;&amp;lt;%SubSectionName%&amp;gt;&lt;/script&gt;&#10;    &lt;/Sh1SubSecDividerOptions&gt;&#10;    &lt;Sh2SubSecDividerOptions&gt;&#10;      &lt;UseShapeInDividers&gt;true&lt;/UseShapeInDividers&gt;&#10;      &lt;script&gt;&amp;lt;%SubSectionNum%&amp;gt;&lt;/script&gt;&#10;    &lt;/Sh2SubSecDividerOptions&gt;&#10;    &lt;Sh3SubSecDividerOptions&gt;&#10;      &lt;UseShapeInDividers&gt;false&lt;/UseShapeInDividers&gt;&#10;    &lt;/Sh3SubSecDividerOptions&gt;&#10;    &lt;ThreeLevelTOC&gt;true&lt;/ThreeLevelTOC&gt;&#10;  &lt;/CustomAlgoOptions&gt;&#10;  &lt;UserPresentationOptions&gt;&#10;    &lt;SubSectionsHaveSlide xsi:nil=&quot;true&quot; /&gt;&#10;    &lt;SectionDividersContainOwnSubSections xsi:nil=&quot;true&quot; /&gt;&#10;    &lt;SectionDividersContainOwnSlideTitles xsi:nil=&quot;true&quot; /&gt;&#10;    &lt;SubSectionDividersContainOwnSlideTitles xsi:nil=&quot;true&quot; /&gt;&#10;    &lt;TOCSlidesContainSubsectionTitles xsi:nil=&quot;true&quot; /&gt;&#10;    &lt;TOCSlidesContainSlideTitles xsi:nil=&quot;true&quot; /&gt;&#10;    &lt;DisplayRemindersOnSlides&gt;true&lt;/DisplayRemindersOnSlides&gt;&#10;    &lt;SectionsHaveSlide&gt;true&lt;/SectionsHaveSlide&gt;&#10;    &lt;DoNotCountHiddenSlidesInPagination&gt;false&lt;/DoNotCountHiddenSlidesInPagination&gt;&#10;  &lt;/UserPresentationOptions&gt;&#10;  &lt;XmlSubSectionsHaveSlide&gt;true&lt;/XmlSubSectionsHaveSlide&gt;&#10;  &lt;AllowDuplicateTitleSlides&gt;true&lt;/AllowDuplicateTitleSlides&gt;&#10;  &lt;ShowEmptySlideTitles&gt;false&lt;/ShowEmptySlideTitles&gt;&#10;  &lt;NumberingOption&gt;&#10;    &lt;NumType&gt;RomanAndLettersLight&lt;/NumType&gt;&#10;  &lt;/NumberingOption&gt;&#10;  &lt;NumberingOptionForAppendix&gt;&#10;    &lt;NumType&gt;RomanAndLettersLight&lt;/NumType&gt;&#10;  &lt;/NumberingOptionForAppendix&gt;&#10;&lt;/TocContentOption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SHAPETYPE" val="SECTIONTITLE"/>
  <p:tag name="NAME" val="SECTIONTITLE"/>
  <p:tag name="TOCTEMPLATESHAPENAME" val="Titre de section"/>
  <p:tag name="TOCTEMPLATESHAPEDESCRIPTION" val="Définit le format de la forme contenant les titres de sec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UM"/>
  <p:tag name="TOCTEMPLATESHAPENAME" val="Index des sous-section"/>
  <p:tag name="TOCTEMPLATESHAPEDESCRIPTION" val="Définit le format de la forme contenant les numéros des sou-secti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LEFT" val="53"/>
  <p:tag name="TOP" val="118"/>
  <p:tag name="HEIGHT" val="73"/>
  <p:tag name="WIDTH" val="543"/>
  <p:tag name="NAME" val="Shape3"/>
  <p:tag name="TOCTEMPLATESHAPENAME" val="Third Shape"/>
  <p:tag name="TOCTEMPLATESHAPEDESCRIPTION" val="Fill it with anything!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hape2"/>
  <p:tag name="TOCTEMPLATESHAPENAME" val="Second Shape"/>
  <p:tag name="TOCTEMPLATESHAPEDESCRIPTION" val="Fill it with anything!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SHAPETYPE" val="SECTIONTITLE"/>
  <p:tag name="NAME" val="Shape1"/>
  <p:tag name="TOCTEMPLATESHAPENAME" val="First Shape"/>
  <p:tag name="TOCTEMPLATESHAPEDESCRIPTION" val="Fill it with anything!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LEFT" val="53"/>
  <p:tag name="TOP" val="118"/>
  <p:tag name="HEIGHT" val="73"/>
  <p:tag name="WIDTH" val="543"/>
  <p:tag name="NAME" val="Shape3"/>
  <p:tag name="TOCTEMPLATESHAPENAME" val="Third Shape"/>
  <p:tag name="TOCTEMPLATESHAPEDESCRIPTION" val="Fill it with anything!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SHAPETYPE" val="SECTIONTITLE"/>
  <p:tag name="NAME" val="Shape1"/>
  <p:tag name="TOCTEMPLATESHAPENAME" val="First Shape"/>
  <p:tag name="TOCTEMPLATESHAPEDESCRIPTION" val="Fill it with anything!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hape2"/>
  <p:tag name="TOCTEMPLATESHAPENAME" val="Second Shape"/>
  <p:tag name="TOCTEMPLATESHAPEDESCRIPTION" val="Fill it with anything!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9/9/2020 4:38:02 PM759187771"/>
  <p:tag name="TOCTEMPLATESHAPENAME" val="Defaut nam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9/9/2020 4:38:02 PM759187771"/>
  <p:tag name="TOCTEMPLATESHAPENAME" val="Defaut nam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447"/>
  <p:tag name="SLIDEINDEX" val="447"/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UBSECTIONTITLE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heme/theme1.xml><?xml version="1.0" encoding="utf-8"?>
<a:theme xmlns:a="http://schemas.openxmlformats.org/drawingml/2006/main" name="UpSlide Landscape A4">
  <a:themeElements>
    <a:clrScheme name="Lazard 2023 Light">
      <a:dk1>
        <a:srgbClr val="23283C"/>
      </a:dk1>
      <a:lt1>
        <a:srgbClr val="FFFFFF"/>
      </a:lt1>
      <a:dk2>
        <a:srgbClr val="0582BE"/>
      </a:dk2>
      <a:lt2>
        <a:srgbClr val="D7DCDC"/>
      </a:lt2>
      <a:accent1>
        <a:srgbClr val="03618E"/>
      </a:accent1>
      <a:accent2>
        <a:srgbClr val="A59B92"/>
      </a:accent2>
      <a:accent3>
        <a:srgbClr val="84C2F0"/>
      </a:accent3>
      <a:accent4>
        <a:srgbClr val="5F87A0"/>
      </a:accent4>
      <a:accent5>
        <a:srgbClr val="CFA052"/>
      </a:accent5>
      <a:accent6>
        <a:srgbClr val="7AA778"/>
      </a:accent6>
      <a:hlink>
        <a:srgbClr val="23283C"/>
      </a:hlink>
      <a:folHlink>
        <a:srgbClr val="23283C"/>
      </a:folHlink>
    </a:clrScheme>
    <a:fontScheme name="Lazard 2023">
      <a:majorFont>
        <a:latin typeface="EB Garamond"/>
        <a:ea typeface=""/>
        <a:cs typeface=""/>
      </a:majorFont>
      <a:minorFont>
        <a:latin typeface="Aptos"/>
        <a:ea typeface=""/>
        <a:cs typeface=""/>
      </a:minorFont>
    </a:fontScheme>
    <a:fmtScheme name="LazardPrimary_Letter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60000"/>
              </a:schemeClr>
            </a:gs>
            <a:gs pos="30000">
              <a:schemeClr val="phClr">
                <a:tint val="38000"/>
                <a:satMod val="260000"/>
              </a:schemeClr>
            </a:gs>
            <a:gs pos="75000">
              <a:schemeClr val="phClr">
                <a:tint val="55000"/>
                <a:satMod val="255000"/>
              </a:schemeClr>
            </a:gs>
            <a:gs pos="100000">
              <a:schemeClr val="phClr">
                <a:tint val="70000"/>
                <a:satMod val="255000"/>
              </a:schemeClr>
            </a:gs>
          </a:gsLst>
          <a:path path="circle">
            <a:fillToRect l="5000" t="100000" r="120000" b="10000"/>
          </a:path>
        </a:gradFill>
        <a:gradFill rotWithShape="1">
          <a:gsLst>
            <a:gs pos="0">
              <a:schemeClr val="phClr">
                <a:shade val="63000"/>
                <a:satMod val="165000"/>
              </a:schemeClr>
            </a:gs>
            <a:gs pos="30000">
              <a:schemeClr val="phClr">
                <a:shade val="58000"/>
                <a:satMod val="165000"/>
              </a:schemeClr>
            </a:gs>
            <a:gs pos="75000">
              <a:schemeClr val="phClr">
                <a:shade val="30000"/>
                <a:satMod val="175000"/>
              </a:schemeClr>
            </a:gs>
            <a:gs pos="100000">
              <a:schemeClr val="phClr">
                <a:shade val="15000"/>
                <a:satMod val="175000"/>
              </a:schemeClr>
            </a:gs>
          </a:gsLst>
          <a:path path="circle">
            <a:fillToRect l="5000" t="100000" r="120000" b="10000"/>
          </a:path>
        </a:gradFill>
      </a:fillStyleLst>
      <a:lnStyleLst>
        <a:ln w="12700" cap="flat" cmpd="sng" algn="ctr">
          <a:solidFill>
            <a:schemeClr val="phClr">
              <a:shade val="70000"/>
              <a:satMod val="15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  <a:scene3d>
            <a:camera prst="orthographicFront">
              <a:rot lat="0" lon="0" rev="0"/>
            </a:camera>
            <a:lightRig rig="balanced" dir="t"/>
          </a:scene3d>
          <a:sp3d>
            <a:bevelT w="47625" h="698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40000"/>
            <a:lumOff val="60000"/>
          </a:schemeClr>
        </a:solidFill>
      </a:spPr>
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58850" eaLnBrk="0" fontAlgn="base" hangingPunct="0">
          <a:lnSpc>
            <a:spcPct val="90000"/>
          </a:lnSpc>
          <a:spcAft>
            <a:spcPct val="0"/>
          </a:spcAft>
          <a:buClr>
            <a:schemeClr val="accent4">
              <a:lumMod val="75000"/>
            </a:schemeClr>
          </a:buClr>
          <a:buSzPct val="100000"/>
          <a:tabLst>
            <a:tab pos="457200" algn="l"/>
            <a:tab pos="914400" algn="l"/>
            <a:tab pos="1371600" algn="l"/>
            <a:tab pos="1828800" algn="l"/>
          </a:tabLst>
          <a:defRPr sz="1000" dirty="0" err="1" smtClean="0"/>
        </a:defPPr>
      </a:lst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>
          <a:defRPr sz="1000" dirty="0"/>
        </a:defPPr>
      </a:lstStyle>
    </a:txDef>
  </a:objectDefaults>
  <a:extraClrSchemeLst/>
  <a:custClrLst>
    <a:custClr name="Monterey">
      <a:srgbClr val="03618E"/>
    </a:custClr>
    <a:custClr name="Pacific">
      <a:srgbClr val="0582BE"/>
    </a:custClr>
    <a:custClr name="Sky">
      <a:srgbClr val="84C2F0"/>
    </a:custClr>
    <a:custClr name="Gold">
      <a:srgbClr val="CFA052"/>
    </a:custClr>
    <a:custClr name="Gold 40%">
      <a:srgbClr val="E2C697"/>
    </a:custClr>
    <a:custClr name="Gold 60%">
      <a:srgbClr val="ECD9BA"/>
    </a:custClr>
    <a:custClr name="Warm">
      <a:srgbClr val="A59B92"/>
    </a:custClr>
    <a:custClr name="Warm 40%">
      <a:srgbClr val="C9C3BE"/>
    </a:custClr>
    <a:custClr name="Warm 60%">
      <a:srgbClr val="DBD7D3"/>
    </a:custClr>
    <a:custClr name="Moonstone">
      <a:srgbClr val="5F87A0"/>
    </a:custClr>
    <a:custClr name="Ocean">
      <a:srgbClr val="003764"/>
    </a:custClr>
    <a:custClr name="Mist">
      <a:srgbClr val="CDDCE6"/>
    </a:custClr>
    <a:custClr name="Gray">
      <a:srgbClr val="828282"/>
    </a:custClr>
    <a:custClr name="Chocolate">
      <a:srgbClr val="4C0000"/>
    </a:custClr>
    <a:custClr name="Bark">
      <a:srgbClr val="736400"/>
    </a:custClr>
    <a:custClr name="Chestnut">
      <a:srgbClr val="784100"/>
    </a:custClr>
    <a:custClr name="Hunter">
      <a:srgbClr val="006423"/>
    </a:custClr>
    <a:custClr name="Grass">
      <a:srgbClr val="5A8C23"/>
    </a:custClr>
    <a:custClr name="Sprout">
      <a:srgbClr val="7DBD42"/>
    </a:custClr>
    <a:custClr name="Olive">
      <a:srgbClr val="BAC91F"/>
    </a:custClr>
    <a:custClr name="Turquoise">
      <a:srgbClr val="00B4AF"/>
    </a:custClr>
    <a:custClr name="Dark Red">
      <a:srgbClr val="C00000"/>
    </a:custClr>
    <a:custClr name="Salmon">
      <a:srgbClr val="EB9683"/>
    </a:custClr>
    <a:custClr name="Light Red">
      <a:srgbClr val="E6CDE1"/>
    </a:custClr>
    <a:custClr name="Burnt Orange">
      <a:srgbClr val="D34C08"/>
    </a:custClr>
    <a:custClr name="Tangerine">
      <a:srgbClr val="FAA532"/>
    </a:custClr>
    <a:custClr name="Butternut">
      <a:srgbClr val="E6B43C"/>
    </a:custClr>
    <a:custClr name="Daffodil">
      <a:srgbClr val="FFDC73"/>
    </a:custClr>
    <a:custClr name="Lavender">
      <a:srgbClr val="C096BB"/>
    </a:custClr>
    <a:custClr name="Lilac">
      <a:srgbClr val="85507F"/>
    </a:custClr>
  </a:custClrLst>
  <a:extLst>
    <a:ext uri="{05A4C25C-085E-4340-85A3-A5531E510DB2}">
      <thm15:themeFamily xmlns:thm15="http://schemas.microsoft.com/office/thememl/2012/main" name="UpSlideTemplate.potx" id="{2D69103A-9F62-4261-9460-86E53400AD70}" vid="{3BCED243-0867-4C1B-B295-8C4646C71E4B}"/>
    </a:ext>
  </a:extLst>
</a:theme>
</file>

<file path=ppt/theme/theme2.xml><?xml version="1.0" encoding="utf-8"?>
<a:theme xmlns:a="http://schemas.openxmlformats.org/drawingml/2006/main" name="UpSlide Table Of Content Master (do not edit)">
  <a:themeElements>
    <a:clrScheme name="Lazard 2023 Light">
      <a:dk1>
        <a:srgbClr val="23283C"/>
      </a:dk1>
      <a:lt1>
        <a:srgbClr val="FFFFFF"/>
      </a:lt1>
      <a:dk2>
        <a:srgbClr val="0582BE"/>
      </a:dk2>
      <a:lt2>
        <a:srgbClr val="D7DCDC"/>
      </a:lt2>
      <a:accent1>
        <a:srgbClr val="03618E"/>
      </a:accent1>
      <a:accent2>
        <a:srgbClr val="A59B92"/>
      </a:accent2>
      <a:accent3>
        <a:srgbClr val="84C2F0"/>
      </a:accent3>
      <a:accent4>
        <a:srgbClr val="5F87A0"/>
      </a:accent4>
      <a:accent5>
        <a:srgbClr val="CFA052"/>
      </a:accent5>
      <a:accent6>
        <a:srgbClr val="7AA778"/>
      </a:accent6>
      <a:hlink>
        <a:srgbClr val="23283C"/>
      </a:hlink>
      <a:folHlink>
        <a:srgbClr val="23283C"/>
      </a:folHlink>
    </a:clrScheme>
    <a:fontScheme name="Lazard 2023">
      <a:majorFont>
        <a:latin typeface="EB Garamond"/>
        <a:ea typeface=""/>
        <a:cs typeface=""/>
      </a:majorFont>
      <a:minorFont>
        <a:latin typeface="Apt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Moonstone">
      <a:srgbClr val="5F87A0"/>
    </a:custClr>
    <a:custClr name="Moonstone 40%">
      <a:srgbClr val="9FB7C6"/>
    </a:custClr>
    <a:custClr name="Moonstone 60%">
      <a:srgbClr val="BFCFD9"/>
    </a:custClr>
    <a:custClr name="Gold">
      <a:srgbClr val="CFA052"/>
    </a:custClr>
    <a:custClr name="Gold 40%">
      <a:srgbClr val="E2C697"/>
    </a:custClr>
    <a:custClr name="Gold 60%">
      <a:srgbClr val="ECD9BA"/>
    </a:custClr>
    <a:custClr name="Shadow">
      <a:srgbClr val="BEBEBE"/>
    </a:custClr>
    <a:custClr name="Shadow 40%">
      <a:srgbClr val="D9D9D9"/>
    </a:custClr>
    <a:custClr name="Shadow 60%">
      <a:srgbClr val="E5E5E5"/>
    </a:custClr>
    <a:custClr name="Ink">
      <a:srgbClr val="23283C"/>
    </a:custClr>
    <a:custClr name="Tangerine">
      <a:srgbClr val="FAA532"/>
    </a:custClr>
    <a:custClr name="Butternut">
      <a:srgbClr val="E6B43C"/>
    </a:custClr>
    <a:custClr name="Turquoise">
      <a:srgbClr val="00B4AF"/>
    </a:custClr>
    <a:custClr name="Ocean">
      <a:srgbClr val="003764"/>
    </a:custClr>
    <a:custClr name="Hunter">
      <a:srgbClr val="006423"/>
    </a:custClr>
    <a:custClr name="Moss">
      <a:srgbClr val="7AA778"/>
    </a:custClr>
    <a:custClr name="Sprout">
      <a:srgbClr val="7DBD42"/>
    </a:custClr>
    <a:custClr name="Olive">
      <a:srgbClr val="BAC91F"/>
    </a:custClr>
    <a:custClr name="Chocolate">
      <a:srgbClr val="4C0000"/>
    </a:custClr>
    <a:custClr name="Bark">
      <a:srgbClr val="736400"/>
    </a:custClr>
    <a:custClr name="Chestnut">
      <a:srgbClr val="784100"/>
    </a:custClr>
    <a:custClr name="Dark Red">
      <a:srgbClr val="C00000"/>
    </a:custClr>
    <a:custClr name="Salmon">
      <a:srgbClr val="EB9683"/>
    </a:custClr>
    <a:custClr name="Light Red">
      <a:srgbClr val="E6CDE1"/>
    </a:custClr>
    <a:custClr name="Burnt Orange">
      <a:srgbClr val="D34C08"/>
    </a:custClr>
    <a:custClr name="Daffodil">
      <a:srgbClr val="FFDC73"/>
    </a:custClr>
    <a:custClr name="Lavendar">
      <a:srgbClr val="C096BB"/>
    </a:custClr>
    <a:custClr name="Lilac">
      <a:srgbClr val="85507F"/>
    </a:custClr>
    <a:custClr name="Midnight">
      <a:srgbClr val="0B0A0B"/>
    </a:custClr>
    <a:custClr name="Gray">
      <a:srgbClr val="828282"/>
    </a:custClr>
  </a:custClrLst>
  <a:extLst>
    <a:ext uri="{05A4C25C-085E-4340-85A3-A5531E510DB2}">
      <thm15:themeFamily xmlns:thm15="http://schemas.microsoft.com/office/thememl/2012/main" name="UpSlideTemplate.potx" id="{2D69103A-9F62-4261-9460-86E53400AD70}" vid="{18293431-5F04-4BE2-81F6-8E948F17BB4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ptos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ptos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ptos"/>
        <a:font script="Hebr" typeface="Apto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ptos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ptos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ptos"/>
        <a:font script="Hebr" typeface="Apto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ptos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dddbe51a-595a-4053-acf2-247e69a6d12e" xsi:nil="true"/>
    <lcf76f155ced4ddcb4097134ff3c332f xmlns="dddbe51a-595a-4053-acf2-247e69a6d12e">
      <Terms xmlns="http://schemas.microsoft.com/office/infopath/2007/PartnerControls"/>
    </lcf76f155ced4ddcb4097134ff3c332f>
    <TaxCatchAll xmlns="49388d10-dc4a-4d9c-8a19-6440141ec51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92D96DEC3AD747AFDDDB7EAABCFF0B" ma:contentTypeVersion="15" ma:contentTypeDescription="Create a new document." ma:contentTypeScope="" ma:versionID="e5b3226cb57a94736c8668287d100b13">
  <xsd:schema xmlns:xsd="http://www.w3.org/2001/XMLSchema" xmlns:xs="http://www.w3.org/2001/XMLSchema" xmlns:p="http://schemas.microsoft.com/office/2006/metadata/properties" xmlns:ns2="dddbe51a-595a-4053-acf2-247e69a6d12e" xmlns:ns3="49388d10-dc4a-4d9c-8a19-6440141ec51d" targetNamespace="http://schemas.microsoft.com/office/2006/metadata/properties" ma:root="true" ma:fieldsID="5a3475972e3656fd56c02fcfbcbc171f" ns2:_="" ns3:_="">
    <xsd:import namespace="dddbe51a-595a-4053-acf2-247e69a6d12e"/>
    <xsd:import namespace="49388d10-dc4a-4d9c-8a19-6440141ec51d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dbe51a-595a-4053-acf2-247e69a6d12e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e845fe0e-4a8f-4721-8ced-657dcabe17b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ServiceObjectDetectorVersions" ma:index="1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388d10-dc4a-4d9c-8a19-6440141ec51d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f7b36111-178f-4ba4-82fd-0438fcdfa7f9}" ma:internalName="TaxCatchAll" ma:showField="CatchAllData" ma:web="49388d10-dc4a-4d9c-8a19-6440141ec51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B266DD7-0207-4276-A9C7-9510FDE2E57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B41A51-4626-4545-B565-DF363E24E0E5}">
  <ds:schemaRefs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elements/1.1/"/>
    <ds:schemaRef ds:uri="49388d10-dc4a-4d9c-8a19-6440141ec51d"/>
    <ds:schemaRef ds:uri="dddbe51a-595a-4053-acf2-247e69a6d12e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BE0216AE-510E-41A3-9D88-C6485BD105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dbe51a-595a-4053-acf2-247e69a6d12e"/>
    <ds:schemaRef ds:uri="49388d10-dc4a-4d9c-8a19-6440141ec51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pSlideTemplate</Template>
  <TotalTime>630</TotalTime>
  <Words>41</Words>
  <Application>Microsoft Office PowerPoint</Application>
  <PresentationFormat>Custom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ptos</vt:lpstr>
      <vt:lpstr>Aptos Narrow</vt:lpstr>
      <vt:lpstr>Arial</vt:lpstr>
      <vt:lpstr>EB Garamond</vt:lpstr>
      <vt:lpstr>Symbol</vt:lpstr>
      <vt:lpstr>Wingdings</vt:lpstr>
      <vt:lpstr>UpSlide Landscape A4</vt:lpstr>
      <vt:lpstr>UpSlide Table Of Content Master (do not edit)</vt:lpstr>
      <vt:lpstr>think-cell Slide</vt:lpstr>
      <vt:lpstr>Lazard Saudi Arabia</vt:lpstr>
    </vt:vector>
  </TitlesOfParts>
  <Company>Microsoft 365 Apps x64 2302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ent Name / Presentation Title</dc:title>
  <dc:subject>Presentation Subject</dc:subject>
  <dc:creator>joe</dc:creator>
  <cp:lastModifiedBy>Aljibali, Ibrahim</cp:lastModifiedBy>
  <cp:revision>7</cp:revision>
  <cp:lastPrinted>2026-01-29T12:11:48Z</cp:lastPrinted>
  <dcterms:created xsi:type="dcterms:W3CDTF">2024-12-11T08:56:14Z</dcterms:created>
  <dcterms:modified xsi:type="dcterms:W3CDTF">2026-05-13T10:4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Count">
    <vt:i4>1</vt:i4>
  </property>
  <property fmtid="{D5CDD505-2E9C-101B-9397-08002B2CF9AE}" pid="3" name="Primary">
    <vt:i4>1</vt:i4>
  </property>
  <property fmtid="{D5CDD505-2E9C-101B-9397-08002B2CF9AE}" pid="4" name="Secondary">
    <vt:i4>0</vt:i4>
  </property>
  <property fmtid="{D5CDD505-2E9C-101B-9397-08002B2CF9AE}" pid="5" name="Tertiary">
    <vt:i4>0</vt:i4>
  </property>
  <property fmtid="{D5CDD505-2E9C-101B-9397-08002B2CF9AE}" pid="6" name="CurSec">
    <vt:i4>0</vt:i4>
  </property>
  <property fmtid="{D5CDD505-2E9C-101B-9397-08002B2CF9AE}" pid="7" name="CurTer">
    <vt:i4>0</vt:i4>
  </property>
  <property fmtid="{D5CDD505-2E9C-101B-9397-08002B2CF9AE}" pid="8" name="CurQuad">
    <vt:i4>0</vt:i4>
  </property>
  <property fmtid="{D5CDD505-2E9C-101B-9397-08002B2CF9AE}" pid="9" name="CurAppSub">
    <vt:i4>0</vt:i4>
  </property>
  <property fmtid="{D5CDD505-2E9C-101B-9397-08002B2CF9AE}" pid="10" name="PDate">
    <vt:filetime>2016-06-08T04:00:00Z</vt:filetime>
  </property>
  <property fmtid="{D5CDD505-2E9C-101B-9397-08002B2CF9AE}" pid="11" name="PDateFormat">
    <vt:lpwstr>MMMYYYY</vt:lpwstr>
  </property>
  <property fmtid="{D5CDD505-2E9C-101B-9397-08002B2CF9AE}" pid="12" name="Quaternary">
    <vt:i4>0</vt:i4>
  </property>
  <property fmtid="{D5CDD505-2E9C-101B-9397-08002B2CF9AE}" pid="13" name="Appendix">
    <vt:i4>0</vt:i4>
  </property>
  <property fmtid="{D5CDD505-2E9C-101B-9397-08002B2CF9AE}" pid="14" name="PresTitle">
    <vt:lpwstr>Client Name/Presentation Title</vt:lpwstr>
  </property>
  <property fmtid="{D5CDD505-2E9C-101B-9397-08002B2CF9AE}" pid="15" name="AppendixSub">
    <vt:i4>0</vt:i4>
  </property>
  <property fmtid="{D5CDD505-2E9C-101B-9397-08002B2CF9AE}" pid="16" name="HideTitleOnHdr">
    <vt:bool>false</vt:bool>
  </property>
  <property fmtid="{D5CDD505-2E9C-101B-9397-08002B2CF9AE}" pid="17" name="Paper Size">
    <vt:lpwstr>Letter</vt:lpwstr>
  </property>
  <property fmtid="{D5CDD505-2E9C-101B-9397-08002B2CF9AE}" pid="18" name="Day">
    <vt:i4>2</vt:i4>
  </property>
  <property fmtid="{D5CDD505-2E9C-101B-9397-08002B2CF9AE}" pid="19" name="Month">
    <vt:i4>5</vt:i4>
  </property>
  <property fmtid="{D5CDD505-2E9C-101B-9397-08002B2CF9AE}" pid="20" name="Year">
    <vt:i4>2016</vt:i4>
  </property>
  <property fmtid="{D5CDD505-2E9C-101B-9397-08002B2CF9AE}" pid="21" name="Moth-Year Format">
    <vt:bool>false</vt:bool>
  </property>
  <property fmtid="{D5CDD505-2E9C-101B-9397-08002B2CF9AE}" pid="22" name="Minute">
    <vt:i4>0</vt:i4>
  </property>
  <property fmtid="{D5CDD505-2E9C-101B-9397-08002B2CF9AE}" pid="23" name="Seconds">
    <vt:i4>0</vt:i4>
  </property>
  <property fmtid="{D5CDD505-2E9C-101B-9397-08002B2CF9AE}" pid="24" name="Hour">
    <vt:i4>0</vt:i4>
  </property>
  <property fmtid="{D5CDD505-2E9C-101B-9397-08002B2CF9AE}" pid="25" name="Template Date">
    <vt:lpwstr>7.9</vt:lpwstr>
  </property>
  <property fmtid="{D5CDD505-2E9C-101B-9397-08002B2CF9AE}" pid="26" name="Time">
    <vt:bool>false</vt:bool>
  </property>
  <property fmtid="{D5CDD505-2E9C-101B-9397-08002B2CF9AE}" pid="27" name="Draft">
    <vt:bool>false</vt:bool>
  </property>
  <property fmtid="{D5CDD505-2E9C-101B-9397-08002B2CF9AE}" pid="28" name="OnePager">
    <vt:bool>false</vt:bool>
  </property>
  <property fmtid="{D5CDD505-2E9C-101B-9397-08002B2CF9AE}" pid="29" name="NoTOC">
    <vt:bool>false</vt:bool>
  </property>
  <property fmtid="{D5CDD505-2E9C-101B-9397-08002B2CF9AE}" pid="30" name="NOCover">
    <vt:bool>false</vt:bool>
  </property>
  <property fmtid="{D5CDD505-2E9C-101B-9397-08002B2CF9AE}" pid="31" name="ShowFilePath">
    <vt:bool>false</vt:bool>
  </property>
  <property fmtid="{D5CDD505-2E9C-101B-9397-08002B2CF9AE}" pid="32" name="InsertLogo">
    <vt:bool>false</vt:bool>
  </property>
  <property fmtid="{D5CDD505-2E9C-101B-9397-08002B2CF9AE}" pid="33" name="LogoPath">
    <vt:lpwstr/>
  </property>
  <property fmtid="{D5CDD505-2E9C-101B-9397-08002B2CF9AE}" pid="34" name="LazardLogo">
    <vt:lpwstr>L:\Look &amp; Feel 2016\Galleries\LazardLogos\Lazard (Ink).emf</vt:lpwstr>
  </property>
  <property fmtid="{D5CDD505-2E9C-101B-9397-08002B2CF9AE}" pid="35" name="LogoWidth">
    <vt:r8>63.29</vt:r8>
  </property>
  <property fmtid="{D5CDD505-2E9C-101B-9397-08002B2CF9AE}" pid="36" name="LogoHeight">
    <vt:r8>12</vt:r8>
  </property>
  <property fmtid="{D5CDD505-2E9C-101B-9397-08002B2CF9AE}" pid="37" name="Month-Year Format">
    <vt:bool>false</vt:bool>
  </property>
  <property fmtid="{D5CDD505-2E9C-101B-9397-08002B2CF9AE}" pid="38" name="TemplateType">
    <vt:lpwstr>LF Landscape Pitchbook (Letter)</vt:lpwstr>
  </property>
  <property fmtid="{D5CDD505-2E9C-101B-9397-08002B2CF9AE}" pid="39" name="Paper Size1">
    <vt:lpwstr>Letter</vt:lpwstr>
  </property>
  <property fmtid="{D5CDD505-2E9C-101B-9397-08002B2CF9AE}" pid="40" name="DisclaimerPath">
    <vt:lpwstr>L:\Look &amp; Feel 2016\Galleries\Disclaimers\New York Disclaimer (Letter).pptx</vt:lpwstr>
  </property>
  <property fmtid="{D5CDD505-2E9C-101B-9397-08002B2CF9AE}" pid="41" name="Appendix_Ins">
    <vt:bool>false</vt:bool>
  </property>
  <property fmtid="{D5CDD505-2E9C-101B-9397-08002B2CF9AE}" pid="42" name="ContentTypeId">
    <vt:lpwstr>0x0101004692D96DEC3AD747AFDDDB7EAABCFF0B</vt:lpwstr>
  </property>
  <property fmtid="{D5CDD505-2E9C-101B-9397-08002B2CF9AE}" pid="43" name="Order">
    <vt:r8>24200</vt:r8>
  </property>
  <property fmtid="{D5CDD505-2E9C-101B-9397-08002B2CF9AE}" pid="44" name="xd_ProgID">
    <vt:lpwstr/>
  </property>
  <property fmtid="{D5CDD505-2E9C-101B-9397-08002B2CF9AE}" pid="45" name="ComplianceAssetId">
    <vt:lpwstr/>
  </property>
  <property fmtid="{D5CDD505-2E9C-101B-9397-08002B2CF9AE}" pid="46" name="TemplateUrl">
    <vt:lpwstr/>
  </property>
  <property fmtid="{D5CDD505-2E9C-101B-9397-08002B2CF9AE}" pid="47" name="_ExtendedDescription">
    <vt:lpwstr/>
  </property>
  <property fmtid="{D5CDD505-2E9C-101B-9397-08002B2CF9AE}" pid="48" name="TriggerFlowInfo">
    <vt:lpwstr/>
  </property>
  <property fmtid="{D5CDD505-2E9C-101B-9397-08002B2CF9AE}" pid="49" name="xd_Signature">
    <vt:bool>false</vt:bool>
  </property>
  <property fmtid="{D5CDD505-2E9C-101B-9397-08002B2CF9AE}" pid="50" name="MediaServiceImageTags">
    <vt:lpwstr/>
  </property>
</Properties>
</file>